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media/image10.svg" ContentType="image/svg+xml"/>
  <Override PartName="/ppt/media/image11.svg" ContentType="image/svg+xml"/>
  <Override PartName="/ppt/media/image16.svg" ContentType="image/svg+xml"/>
  <Override PartName="/ppt/media/image18.svg" ContentType="image/svg+xml"/>
  <Override PartName="/ppt/media/image28.svg" ContentType="image/svg+xml"/>
  <Override PartName="/ppt/media/image3.svg" ContentType="image/svg+xml"/>
  <Override PartName="/ppt/media/image30.svg" ContentType="image/svg+xml"/>
  <Override PartName="/ppt/media/image32.svg" ContentType="image/svg+xml"/>
  <Override PartName="/ppt/media/image34.svg" ContentType="image/svg+xml"/>
  <Override PartName="/ppt/media/image5.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 id="2147483658" r:id="rId3"/>
  </p:sldMasterIdLst>
  <p:notesMasterIdLst>
    <p:notesMasterId r:id="rId5"/>
  </p:notesMasterIdLst>
  <p:handoutMasterIdLst>
    <p:handoutMasterId r:id="rId16"/>
  </p:handoutMasterIdLst>
  <p:sldIdLst>
    <p:sldId id="256" r:id="rId4"/>
    <p:sldId id="16773300" r:id="rId6"/>
    <p:sldId id="257" r:id="rId7"/>
    <p:sldId id="7066" r:id="rId8"/>
    <p:sldId id="7051" r:id="rId9"/>
    <p:sldId id="7063" r:id="rId10"/>
    <p:sldId id="7064" r:id="rId11"/>
    <p:sldId id="16773299" r:id="rId12"/>
    <p:sldId id="16773349" r:id="rId13"/>
    <p:sldId id="16773323" r:id="rId14"/>
    <p:sldId id="16773350" r:id="rId15"/>
  </p:sldIdLst>
  <p:sldSz cx="12192000" cy="685800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E1BC00-AF9D-4B46-A1CB-A67AAC65065B}">
          <p14:sldIdLst>
            <p14:sldId id="256"/>
            <p14:sldId id="16773300"/>
            <p14:sldId id="257"/>
            <p14:sldId id="7066"/>
            <p14:sldId id="7051"/>
            <p14:sldId id="7063"/>
            <p14:sldId id="7064"/>
            <p14:sldId id="16773299"/>
            <p14:sldId id="16773349"/>
            <p14:sldId id="16773323"/>
            <p14:sldId id="16773350"/>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EC51C5-A661-30D1-1B80-D289E073D117}" name="Feng, Yuan" initials="FY" userId="S::yfeng2@cn.imshealth.com::eaff4564-bd42-465f-bbc1-1bb7cbd29c8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2E5D"/>
    <a:srgbClr val="766C91"/>
    <a:srgbClr val="A6A6A6"/>
    <a:srgbClr val="FEFEFE"/>
    <a:srgbClr val="141515"/>
    <a:srgbClr val="5EB7C7"/>
    <a:srgbClr val="F7F7FB"/>
    <a:srgbClr val="FAFAFC"/>
    <a:srgbClr val="E9E8F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4660"/>
  </p:normalViewPr>
  <p:slideViewPr>
    <p:cSldViewPr snapToGrid="0">
      <p:cViewPr varScale="1">
        <p:scale>
          <a:sx n="80" d="100"/>
          <a:sy n="80" d="100"/>
        </p:scale>
        <p:origin x="10" y="115"/>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4" Type="http://schemas.openxmlformats.org/officeDocument/2006/relationships/tags" Target="tags/tag50.xml"/><Relationship Id="rId23" Type="http://schemas.openxmlformats.org/officeDocument/2006/relationships/customXml" Target="../customXml/item3.xml"/><Relationship Id="rId22" Type="http://schemas.openxmlformats.org/officeDocument/2006/relationships/customXml" Target="../customXml/item2.xml"/><Relationship Id="rId21" Type="http://schemas.openxmlformats.org/officeDocument/2006/relationships/customXml" Target="../customXml/item1.xml"/><Relationship Id="rId20" Type="http://schemas.microsoft.com/office/2018/10/relationships/authors" Target="authors.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24037;&#20316;&#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260" b="1" i="0" u="none" strike="noStrike" kern="1200" baseline="0">
                <a:solidFill>
                  <a:schemeClr val="tx1">
                    <a:lumMod val="75000"/>
                    <a:lumOff val="25000"/>
                  </a:schemeClr>
                </a:solidFill>
                <a:latin typeface="微软雅黑" charset="0"/>
                <a:ea typeface="微软雅黑" charset="0"/>
                <a:cs typeface="微软雅黑" charset="0"/>
                <a:sym typeface="微软雅黑" charset="0"/>
              </a:defRPr>
            </a:pPr>
            <a:r>
              <a:rPr lang="zh-CN"/>
              <a:t>术中瞳孔缩小</a:t>
            </a:r>
            <a:r>
              <a:rPr lang="en-US"/>
              <a:t>2</a:t>
            </a:r>
            <a:r>
              <a:rPr lang="zh-CN"/>
              <a:t>级以上（例）</a:t>
            </a:r>
            <a:endParaRPr lang="zh-CN"/>
          </a:p>
        </c:rich>
      </c:tx>
      <c:layout>
        <c:manualLayout>
          <c:xMode val="edge"/>
          <c:yMode val="edge"/>
          <c:x val="0.260231180779822"/>
          <c:y val="0.0341501670030507"/>
        </c:manualLayout>
      </c:layout>
      <c:overlay val="0"/>
      <c:spPr>
        <a:noFill/>
        <a:ln>
          <a:noFill/>
        </a:ln>
        <a:effectLst/>
      </c:spPr>
    </c:title>
    <c:autoTitleDeleted val="0"/>
    <c:plotArea>
      <c:layout/>
      <c:barChart>
        <c:barDir val="col"/>
        <c:grouping val="clustered"/>
        <c:varyColors val="0"/>
        <c:ser>
          <c:idx val="0"/>
          <c:order val="0"/>
          <c:spPr>
            <a:solidFill>
              <a:schemeClr val="accent1">
                <a:lumMod val="75000"/>
              </a:schemeClr>
            </a:solidFill>
            <a:ln>
              <a:noFill/>
            </a:ln>
            <a:effectLst/>
          </c:spPr>
          <c:invertIfNegative val="0"/>
          <c:dPt>
            <c:idx val="1"/>
            <c:invertIfNegative val="0"/>
            <c:bubble3D val="0"/>
            <c:spPr>
              <a:solidFill>
                <a:schemeClr val="accent1">
                  <a:lumMod val="60000"/>
                  <a:lumOff val="40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tx1">
                        <a:lumMod val="75000"/>
                        <a:lumOff val="25000"/>
                      </a:schemeClr>
                    </a:solidFill>
                    <a:latin typeface="微软雅黑" charset="0"/>
                    <a:ea typeface="微软雅黑" charset="0"/>
                    <a:cs typeface="微软雅黑" charset="0"/>
                    <a:sym typeface="微软雅黑"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工作簿1]Sheet1!$B$1:$C$1</c:f>
              <c:strCache>
                <c:ptCount val="2"/>
                <c:pt idx="0">
                  <c:v>氟比洛芬钠组</c:v>
                </c:pt>
                <c:pt idx="1">
                  <c:v>复方托品酰胺组</c:v>
                </c:pt>
              </c:strCache>
            </c:strRef>
          </c:cat>
          <c:val>
            <c:numRef>
              <c:f>[工作簿1]Sheet1!$B$2:$C$2</c:f>
              <c:numCache>
                <c:formatCode>General</c:formatCode>
                <c:ptCount val="2"/>
                <c:pt idx="0">
                  <c:v>3</c:v>
                </c:pt>
                <c:pt idx="1">
                  <c:v>15</c:v>
                </c:pt>
              </c:numCache>
            </c:numRef>
          </c:val>
        </c:ser>
        <c:dLbls>
          <c:showLegendKey val="0"/>
          <c:showVal val="0"/>
          <c:showCatName val="0"/>
          <c:showSerName val="0"/>
          <c:showPercent val="0"/>
          <c:showBubbleSize val="0"/>
        </c:dLbls>
        <c:gapWidth val="246"/>
        <c:overlap val="-28"/>
        <c:axId val="426202552"/>
        <c:axId val="786880004"/>
      </c:barChart>
      <c:catAx>
        <c:axId val="42620255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charset="0"/>
                <a:ea typeface="微软雅黑" charset="0"/>
                <a:cs typeface="微软雅黑" charset="0"/>
                <a:sym typeface="微软雅黑" charset="0"/>
              </a:defRPr>
            </a:pPr>
          </a:p>
        </c:txPr>
        <c:crossAx val="786880004"/>
        <c:crosses val="autoZero"/>
        <c:auto val="1"/>
        <c:lblAlgn val="ctr"/>
        <c:lblOffset val="100"/>
        <c:noMultiLvlLbl val="0"/>
      </c:catAx>
      <c:valAx>
        <c:axId val="7868800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charset="0"/>
                <a:ea typeface="微软雅黑" charset="0"/>
                <a:cs typeface="微软雅黑" charset="0"/>
                <a:sym typeface="微软雅黑" charset="0"/>
              </a:defRPr>
            </a:pPr>
          </a:p>
        </c:txPr>
        <c:crossAx val="42620255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charset="0"/>
                <a:ea typeface="微软雅黑" charset="0"/>
                <a:cs typeface="微软雅黑" charset="0"/>
                <a:sym typeface="微软雅黑" charset="0"/>
              </a:defRPr>
            </a:pPr>
          </a:p>
        </c:txPr>
      </c:legendEntry>
      <c:legendEntry>
        <c:idx val="1"/>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charset="0"/>
                <a:ea typeface="微软雅黑" charset="0"/>
                <a:cs typeface="微软雅黑" charset="0"/>
                <a:sym typeface="微软雅黑" charset="0"/>
              </a:defRPr>
            </a:pPr>
          </a:p>
        </c:txPr>
      </c:legendEntry>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微软雅黑" charset="0"/>
              <a:ea typeface="微软雅黑" charset="0"/>
              <a:cs typeface="微软雅黑" charset="0"/>
              <a:sym typeface="微软雅黑" charset="0"/>
            </a:defRPr>
          </a:pPr>
        </a:p>
      </c:txPr>
    </c:legend>
    <c:plotVisOnly val="1"/>
    <c:dispBlanksAs val="gap"/>
    <c:showDLblsOverMax val="0"/>
    <c:extLst>
      <c:ext uri="{0b15fc19-7d7d-44ad-8c2d-2c3a37ce22c3}">
        <chartProps xmlns="https://web.wps.cn/et/2018/main" chartId="{dc62ada5-d445-4629-9ceb-b27514d24cca}"/>
      </c:ext>
    </c:extLst>
  </c:chart>
  <c:spPr>
    <a:solidFill>
      <a:schemeClr val="bg1"/>
    </a:solidFill>
    <a:ln w="9525" cap="flat" cmpd="sng" algn="ctr">
      <a:solidFill>
        <a:schemeClr val="tx1">
          <a:lumMod val="15000"/>
          <a:lumOff val="85000"/>
        </a:schemeClr>
      </a:solidFill>
      <a:round/>
    </a:ln>
    <a:effectLst/>
  </c:spPr>
  <c:txPr>
    <a:bodyPr/>
    <a:lstStyle/>
    <a:p>
      <a:pPr>
        <a:defRPr lang="zh-CN" sz="1050">
          <a:latin typeface="微软雅黑" charset="0"/>
          <a:ea typeface="微软雅黑" charset="0"/>
          <a:cs typeface="微软雅黑" charset="0"/>
          <a:sym typeface="微软雅黑"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image" Target="../media/image5.svg"/><Relationship Id="rId1" Type="http://schemas.openxmlformats.org/officeDocument/2006/relationships/image" Target="../media/image4.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7"/>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45"/>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fld>
            <a:endParaRPr lang="en-US" sz="1000" i="1"/>
          </a:p>
        </p:txBody>
      </p:sp>
      <p:sp>
        <p:nvSpPr>
          <p:cNvPr id="4" name="Footer Placeholder 3"/>
          <p:cNvSpPr>
            <a:spLocks noGrp="1"/>
          </p:cNvSpPr>
          <p:nvPr>
            <p:ph type="ftr" sz="quarter" idx="2"/>
          </p:nvPr>
        </p:nvSpPr>
        <p:spPr>
          <a:xfrm>
            <a:off x="494679"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fld>
            <a:endParaRPr lang="en-US" sz="1000"/>
          </a:p>
        </p:txBody>
      </p:sp>
      <p:pic>
        <p:nvPicPr>
          <p:cNvPr id="9" name="Graphic 8"/>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5114260" y="335950"/>
            <a:ext cx="1414165" cy="255669"/>
          </a:xfrm>
          <a:prstGeom prst="rect">
            <a:avLst/>
          </a:prstGeom>
        </p:spPr>
      </p:pic>
    </p:spTree>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image" Target="../media/image5.svg"/><Relationship Id="rId1" Type="http://schemas.openxmlformats.org/officeDocument/2006/relationships/image" Target="../media/image4.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4476874" cy="418910"/>
          </a:xfrm>
          <a:prstGeom prst="rect">
            <a:avLst/>
          </a:prstGeom>
        </p:spPr>
        <p:txBody>
          <a:bodyPr vert="horz" lIns="93324" tIns="46662" rIns="93324" bIns="46662" rtlCol="0"/>
          <a:lstStyle>
            <a:lvl1pPr algn="l">
              <a:defRPr sz="1200" b="1">
                <a:solidFill>
                  <a:schemeClr val="tx1"/>
                </a:solidFill>
              </a:defRPr>
            </a:lvl1pPr>
          </a:lstStyle>
          <a:p>
            <a:endParaRPr lang="en-US"/>
          </a:p>
        </p:txBody>
      </p:sp>
      <p:sp>
        <p:nvSpPr>
          <p:cNvPr id="3" name="Date Placeholder 2"/>
          <p:cNvSpPr>
            <a:spLocks noGrp="1"/>
          </p:cNvSpPr>
          <p:nvPr>
            <p:ph type="dt" idx="1"/>
          </p:nvPr>
        </p:nvSpPr>
        <p:spPr>
          <a:xfrm>
            <a:off x="399928" y="770386"/>
            <a:ext cx="4476872" cy="232010"/>
          </a:xfrm>
          <a:prstGeom prst="rect">
            <a:avLst/>
          </a:prstGeom>
        </p:spPr>
        <p:txBody>
          <a:bodyPr vert="horz" lIns="93324" tIns="46662" rIns="93324" bIns="46662" rtlCol="0"/>
          <a:lstStyle>
            <a:lvl1pPr algn="l">
              <a:defRPr sz="1000" i="1">
                <a:solidFill>
                  <a:schemeClr val="tx1"/>
                </a:solidFill>
              </a:defRPr>
            </a:lvl1pPr>
          </a:lstStyle>
          <a:p>
            <a:fld id="{29C70E8E-131E-4657-A195-2844EFBAE789}" type="datetimeFigureOut">
              <a:rPr lang="en-US" smtClean="0"/>
            </a:fld>
            <a:endParaRPr lang="en-US"/>
          </a:p>
        </p:txBody>
      </p:sp>
      <p:sp>
        <p:nvSpPr>
          <p:cNvPr id="4" name="Slide Image Placeholder 3"/>
          <p:cNvSpPr>
            <a:spLocks noGrp="1" noRot="1" noChangeAspect="1"/>
          </p:cNvSpPr>
          <p:nvPr>
            <p:ph type="sldImg" idx="2"/>
          </p:nvPr>
        </p:nvSpPr>
        <p:spPr>
          <a:xfrm>
            <a:off x="4516438" y="6921500"/>
            <a:ext cx="2687637"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Slide Number Placeholder 6"/>
          <p:cNvSpPr>
            <a:spLocks noGrp="1"/>
          </p:cNvSpPr>
          <p:nvPr>
            <p:ph type="sldNum" sz="quarter" idx="5"/>
          </p:nvPr>
        </p:nvSpPr>
        <p:spPr>
          <a:xfrm>
            <a:off x="5699639"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fld>
            <a:endParaRPr lang="en-US"/>
          </a:p>
        </p:txBody>
      </p:sp>
      <p:pic>
        <p:nvPicPr>
          <p:cNvPr id="9" name="Graphic 8"/>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5449581" y="397611"/>
            <a:ext cx="1173592" cy="372779"/>
          </a:xfrm>
          <a:prstGeom prst="rect">
            <a:avLst/>
          </a:prstGeom>
        </p:spPr>
      </p:pic>
    </p:spTree>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9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9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90204" pitchFamily="34" charset="0"/>
      <a:buChar char="›"/>
      <a:defRPr sz="1200" kern="1200">
        <a:solidFill>
          <a:schemeClr val="tx1"/>
        </a:solidFill>
        <a:latin typeface="+mn-lt"/>
        <a:ea typeface="+mn-ea"/>
        <a:cs typeface="+mn-cs"/>
      </a:defRPr>
    </a:lvl3pPr>
    <a:lvl4pPr marL="513080" indent="-167005" algn="l" defTabSz="914400" rtl="0" eaLnBrk="1" latinLnBrk="0" hangingPunct="1">
      <a:spcBef>
        <a:spcPts val="400"/>
      </a:spcBef>
      <a:buFont typeface="Arial" panose="020B0604020202090204" pitchFamily="34" charset="0"/>
      <a:buChar char="»"/>
      <a:defRPr sz="1200" kern="1200">
        <a:solidFill>
          <a:schemeClr val="tx1"/>
        </a:solidFill>
        <a:latin typeface="+mn-lt"/>
        <a:ea typeface="+mn-ea"/>
        <a:cs typeface="+mn-cs"/>
      </a:defRPr>
    </a:lvl4pPr>
    <a:lvl5pPr marL="630555"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image" Target="../media/image3.svg"/><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vmlDrawing" Target="../drawings/vmlDrawing10.vml"/><Relationship Id="rId7" Type="http://schemas.openxmlformats.org/officeDocument/2006/relationships/image" Target="../media/image9.svg"/><Relationship Id="rId6" Type="http://schemas.openxmlformats.org/officeDocument/2006/relationships/image" Target="../media/image2.png"/><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8.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vmlDrawing" Target="../drawings/vmlDrawing11.vml"/><Relationship Id="rId7" Type="http://schemas.openxmlformats.org/officeDocument/2006/relationships/image" Target="../media/image10.svg"/><Relationship Id="rId6" Type="http://schemas.openxmlformats.org/officeDocument/2006/relationships/image" Target="../media/image4.png"/><Relationship Id="rId5" Type="http://schemas.openxmlformats.org/officeDocument/2006/relationships/tags" Target="../tags/tag21.x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tags" Target="../tags/tag23.x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tags" Target="../tags/tag25.xml"/><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24.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vmlDrawing" Target="../drawings/vmlDrawing14.vml"/><Relationship Id="rId7" Type="http://schemas.openxmlformats.org/officeDocument/2006/relationships/image" Target="../media/image11.svg"/><Relationship Id="rId6" Type="http://schemas.openxmlformats.org/officeDocument/2006/relationships/image" Target="../media/image7.png"/><Relationship Id="rId5" Type="http://schemas.openxmlformats.org/officeDocument/2006/relationships/tags" Target="../tags/tag27.xml"/><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26.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vmlDrawing" Target="../drawings/vmlDrawing15.vml"/><Relationship Id="rId7" Type="http://schemas.openxmlformats.org/officeDocument/2006/relationships/image" Target="../media/image11.svg"/><Relationship Id="rId6" Type="http://schemas.openxmlformats.org/officeDocument/2006/relationships/image" Target="../media/image7.png"/><Relationship Id="rId5" Type="http://schemas.openxmlformats.org/officeDocument/2006/relationships/tags" Target="../tags/tag29.xml"/><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28.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vmlDrawing" Target="../drawings/vmlDrawing16.vml"/><Relationship Id="rId7" Type="http://schemas.openxmlformats.org/officeDocument/2006/relationships/image" Target="../media/image10.svg"/><Relationship Id="rId6" Type="http://schemas.openxmlformats.org/officeDocument/2006/relationships/image" Target="../media/image4.png"/><Relationship Id="rId5" Type="http://schemas.openxmlformats.org/officeDocument/2006/relationships/tags" Target="../tags/tag31.xml"/><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tags" Target="../tags/tag33.xml"/><Relationship Id="rId4" Type="http://schemas.openxmlformats.org/officeDocument/2006/relationships/image" Target="../media/image1.emf"/><Relationship Id="rId3" Type="http://schemas.openxmlformats.org/officeDocument/2006/relationships/oleObject" Target="../embeddings/oleObject17.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5.svg"/><Relationship Id="rId6" Type="http://schemas.openxmlformats.org/officeDocument/2006/relationships/image" Target="../media/image4.png"/><Relationship Id="rId5" Type="http://schemas.openxmlformats.org/officeDocument/2006/relationships/tags" Target="../tags/tag4.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tags" Target="../tags/tag6.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7"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tags" Target="../tags/tag8.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vmlDrawing" Target="../drawings/vmlDrawing5.vml"/><Relationship Id="rId7" Type="http://schemas.openxmlformats.org/officeDocument/2006/relationships/image" Target="../media/image8.svg"/><Relationship Id="rId6" Type="http://schemas.openxmlformats.org/officeDocument/2006/relationships/image" Target="../media/image7.png"/><Relationship Id="rId5" Type="http://schemas.openxmlformats.org/officeDocument/2006/relationships/tags" Target="../tags/tag10.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vmlDrawing" Target="../drawings/vmlDrawing6.vml"/><Relationship Id="rId7" Type="http://schemas.openxmlformats.org/officeDocument/2006/relationships/image" Target="../media/image8.svg"/><Relationship Id="rId6" Type="http://schemas.openxmlformats.org/officeDocument/2006/relationships/image" Target="../media/image7.png"/><Relationship Id="rId5" Type="http://schemas.openxmlformats.org/officeDocument/2006/relationships/tags" Target="../tags/tag12.x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vmlDrawing" Target="../drawings/vmlDrawing7.vml"/><Relationship Id="rId7" Type="http://schemas.openxmlformats.org/officeDocument/2006/relationships/image" Target="../media/image5.svg"/><Relationship Id="rId6" Type="http://schemas.openxmlformats.org/officeDocument/2006/relationships/image" Target="../media/image4.png"/><Relationship Id="rId5" Type="http://schemas.openxmlformats.org/officeDocument/2006/relationships/tags" Target="../tags/tag14.xml"/><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tags" Target="../tags/tag16.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rgbClr val="7FD1EF"/>
                </a:solidFill>
                <a:ea typeface="Arial" panose="020B0604020202090204" pitchFamily="34" charset="0"/>
                <a:cs typeface="Arial" panose="020B0604020202090204" pitchFamily="34" charset="0"/>
              </a:rPr>
              <a:t>© 2020. All rights reserved. IQVIA</a:t>
            </a:r>
            <a:r>
              <a:rPr lang="en-US" sz="800" baseline="30000">
                <a:solidFill>
                  <a:srgbClr val="7FD1EF"/>
                </a:solidFill>
                <a:ea typeface="Arial" panose="020B0604020202090204" pitchFamily="34" charset="0"/>
                <a:cs typeface="Arial" panose="020B0604020202090204" pitchFamily="34" charset="0"/>
              </a:rPr>
              <a:t>®</a:t>
            </a:r>
            <a:r>
              <a:rPr lang="en-US" sz="800">
                <a:solidFill>
                  <a:srgbClr val="7FD1EF"/>
                </a:solidFill>
                <a:ea typeface="Arial" panose="020B0604020202090204" pitchFamily="34" charset="0"/>
                <a:cs typeface="Arial" panose="020B0604020202090204" pitchFamily="34" charset="0"/>
              </a:rPr>
              <a:t> is a registered trademark of IQVIA Inc. in the United States, the European Union, and various other countries. </a:t>
            </a:r>
            <a:endParaRPr lang="en-US" sz="800">
              <a:solidFill>
                <a:srgbClr val="7FD1EF"/>
              </a:solidFill>
              <a:ea typeface="Arial" panose="020B0604020202090204" pitchFamily="34" charset="0"/>
              <a:cs typeface="Arial" panose="020B060402020209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5" name="Group 3"/>
          <p:cNvGrpSpPr/>
          <p:nvPr/>
        </p:nvGrpSpPr>
        <p:grpSpPr>
          <a:xfrm>
            <a:off x="7036244" y="2752016"/>
            <a:ext cx="5155756" cy="3703320"/>
            <a:chOff x="7036244" y="2752016"/>
            <a:chExt cx="5155756" cy="3703320"/>
          </a:xfrm>
          <a:solidFill>
            <a:schemeClr val="accent2"/>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5" name="Graphic 14"/>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70" name="TextBox 69"/>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rgbClr val="7FD1EF"/>
                </a:solidFill>
                <a:ea typeface="Arial" panose="020B0604020202090204" pitchFamily="34" charset="0"/>
                <a:cs typeface="Arial" panose="020B0604020202090204" pitchFamily="34" charset="0"/>
              </a:rPr>
              <a:t>© 2020. All rights reserved. IQVIA</a:t>
            </a:r>
            <a:r>
              <a:rPr lang="en-US" sz="800" baseline="30000">
                <a:solidFill>
                  <a:srgbClr val="7FD1EF"/>
                </a:solidFill>
                <a:ea typeface="Arial" panose="020B0604020202090204" pitchFamily="34" charset="0"/>
                <a:cs typeface="Arial" panose="020B0604020202090204" pitchFamily="34" charset="0"/>
              </a:rPr>
              <a:t>®</a:t>
            </a:r>
            <a:r>
              <a:rPr lang="en-US" sz="800">
                <a:solidFill>
                  <a:srgbClr val="7FD1EF"/>
                </a:solidFill>
                <a:ea typeface="Arial" panose="020B0604020202090204" pitchFamily="34" charset="0"/>
                <a:cs typeface="Arial" panose="020B0604020202090204" pitchFamily="34" charset="0"/>
              </a:rPr>
              <a:t> is a registered trademark of IQVIA Inc. in the United States, the European Union, and various other countries. </a:t>
            </a:r>
            <a:endParaRPr lang="en-US" sz="800">
              <a:solidFill>
                <a:srgbClr val="7FD1EF"/>
              </a:solidFill>
              <a:ea typeface="Arial" panose="020B0604020202090204" pitchFamily="34" charset="0"/>
              <a:cs typeface="Arial" panose="020B060402020209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endParaRPr lang="en-US"/>
          </a:p>
        </p:txBody>
      </p:sp>
      <p:sp>
        <p:nvSpPr>
          <p:cNvPr id="71"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endParaRPr lang="en-US"/>
          </a:p>
        </p:txBody>
      </p:sp>
      <p:sp>
        <p:nvSpPr>
          <p:cNvPr id="73"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5" name="Group 3"/>
          <p:cNvGrpSpPr/>
          <p:nvPr/>
        </p:nvGrpSpPr>
        <p:grpSpPr>
          <a:xfrm>
            <a:off x="7036244" y="2752016"/>
            <a:ext cx="5155756" cy="3703320"/>
            <a:chOff x="7036244" y="2752016"/>
            <a:chExt cx="5155756" cy="3703320"/>
          </a:xfrm>
          <a:solidFill>
            <a:schemeClr val="accent2"/>
          </a:solidFill>
        </p:grpSpPr>
        <p:sp>
          <p:nvSpPr>
            <p:cNvPr id="103" name="Freeform 10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5" name="Graphic 14"/>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chemeClr val="bg1">
                    <a:lumMod val="50000"/>
                  </a:schemeClr>
                </a:solidFill>
                <a:ea typeface="Arial" panose="020B0604020202090204" pitchFamily="34" charset="0"/>
                <a:cs typeface="Arial" panose="020B0604020202090204" pitchFamily="34" charset="0"/>
              </a:rPr>
              <a:t>© 2020. All rights reserved. IQVIA</a:t>
            </a:r>
            <a:r>
              <a:rPr lang="en-US" sz="800" baseline="30000">
                <a:solidFill>
                  <a:schemeClr val="bg1">
                    <a:lumMod val="50000"/>
                  </a:schemeClr>
                </a:solidFill>
                <a:ea typeface="Arial" panose="020B0604020202090204" pitchFamily="34" charset="0"/>
                <a:cs typeface="Arial" panose="020B0604020202090204" pitchFamily="34" charset="0"/>
              </a:rPr>
              <a:t>®</a:t>
            </a:r>
            <a:r>
              <a:rPr lang="en-US" sz="800">
                <a:solidFill>
                  <a:schemeClr val="bg1">
                    <a:lumMod val="50000"/>
                  </a:schemeClr>
                </a:solidFill>
                <a:ea typeface="Arial" panose="020B0604020202090204" pitchFamily="34" charset="0"/>
                <a:cs typeface="Arial" panose="020B0604020202090204" pitchFamily="34" charset="0"/>
              </a:rPr>
              <a:t> is a registered trademark of IQVIA Inc. in the United States, the European Union, and various other countries. </a:t>
            </a:r>
            <a:endParaRPr lang="en-US" sz="800" kern="1200">
              <a:solidFill>
                <a:schemeClr val="bg1">
                  <a:lumMod val="50000"/>
                </a:schemeClr>
              </a:solidFill>
              <a:latin typeface="+mn-lt"/>
              <a:ea typeface="Arial" panose="020B0604020202090204" pitchFamily="34" charset="0"/>
              <a:cs typeface="Arial" panose="020B060402020209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endParaRPr lang="en-US"/>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endParaRPr lang="en-US"/>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61" name="Group 60"/>
          <p:cNvGrpSpPr/>
          <p:nvPr/>
        </p:nvGrpSpPr>
        <p:grpSpPr>
          <a:xfrm>
            <a:off x="7036244" y="2752016"/>
            <a:ext cx="5155756" cy="3703320"/>
            <a:chOff x="7036244" y="2752016"/>
            <a:chExt cx="5155756" cy="3703320"/>
          </a:xfrm>
          <a:solidFill>
            <a:schemeClr val="accent1"/>
          </a:solidFill>
        </p:grpSpPr>
        <p:sp>
          <p:nvSpPr>
            <p:cNvPr id="63" name="Freeform 6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7" name="Graphic 1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endParaRPr lang="en-US"/>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5" name="object 2"/>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p:txBody>
      </p:sp>
      <p:sp>
        <p:nvSpPr>
          <p:cNvPr id="6" name="object 4"/>
          <p:cNvSpPr/>
          <p:nvPr userDrawn="1"/>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p:txBody>
      </p:sp>
      <p:sp>
        <p:nvSpPr>
          <p:cNvPr id="30" name="Slide Number Placeholder 5"/>
          <p:cNvSpPr txBox="1"/>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fld>
            <a:endParaRPr lang="en-US" sz="1000" b="1">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endParaRPr lang="en-US"/>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5" name="object 2"/>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p:txBody>
      </p:sp>
      <p:sp>
        <p:nvSpPr>
          <p:cNvPr id="30" name="Slide Number Placeholder 5"/>
          <p:cNvSpPr txBox="1"/>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fld>
            <a:endParaRPr lang="en-US" sz="1000" b="1">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53" name="Content Placeholder 2"/>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90204" pitchFamily="34" charset="0"/>
              <a:buChar char="-"/>
              <a:defRPr sz="1600">
                <a:solidFill>
                  <a:schemeClr val="tx1"/>
                </a:solidFill>
              </a:defRPr>
            </a:lvl2pPr>
            <a:lvl3pPr marL="548640" indent="-182880">
              <a:lnSpc>
                <a:spcPct val="100000"/>
              </a:lnSpc>
              <a:spcBef>
                <a:spcPts val="800"/>
              </a:spcBef>
              <a:buFont typeface="Arial" panose="020B0604020202090204" pitchFamily="34" charset="0"/>
              <a:buChar char="›"/>
              <a:defRPr sz="1600">
                <a:solidFill>
                  <a:schemeClr val="tx1"/>
                </a:solidFill>
              </a:defRPr>
            </a:lvl3pPr>
            <a:lvl4pPr marL="731520" indent="-182880">
              <a:lnSpc>
                <a:spcPct val="100000"/>
              </a:lnSpc>
              <a:spcBef>
                <a:spcPts val="800"/>
              </a:spcBef>
              <a:buFont typeface="Arial" panose="020B060402020209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6"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8" name="Graphic 7"/>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2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90204" pitchFamily="34" charset="0"/>
              <a:buChar char="•"/>
              <a:defRPr sz="1600">
                <a:solidFill>
                  <a:schemeClr val="tx1"/>
                </a:solidFill>
              </a:defRPr>
            </a:lvl2pPr>
            <a:lvl3pPr marL="548640" indent="-182880">
              <a:lnSpc>
                <a:spcPct val="100000"/>
              </a:lnSpc>
              <a:spcBef>
                <a:spcPts val="800"/>
              </a:spcBef>
              <a:buClrTx/>
              <a:buFont typeface="Arial" panose="020B0604020202090204" pitchFamily="34" charset="0"/>
              <a:buChar char="›"/>
              <a:defRPr sz="1600">
                <a:solidFill>
                  <a:schemeClr val="tx1"/>
                </a:solidFill>
              </a:defRPr>
            </a:lvl3pPr>
            <a:lvl4pPr marL="731520" indent="-182880">
              <a:lnSpc>
                <a:spcPct val="100000"/>
              </a:lnSpc>
              <a:spcBef>
                <a:spcPts val="800"/>
              </a:spcBef>
              <a:buClrTx/>
              <a:buFont typeface="Arial" panose="020B060402020209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endParaRPr lang="en-US"/>
          </a:p>
        </p:txBody>
      </p:sp>
      <p:grpSp>
        <p:nvGrpSpPr>
          <p:cNvPr id="5"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34" name="Graphic 33"/>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33" name="Graphic 32"/>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pic>
        <p:nvPicPr>
          <p:cNvPr id="14" name="Graphic 1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endParaRPr lang="en-US"/>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grpSp>
        <p:nvGrpSpPr>
          <p:cNvPr id="10" name="Group 9"/>
          <p:cNvGrpSpPr/>
          <p:nvPr/>
        </p:nvGrpSpPr>
        <p:grpSpPr>
          <a:xfrm>
            <a:off x="0" y="1460563"/>
            <a:ext cx="2550984" cy="4676908"/>
            <a:chOff x="0" y="1403413"/>
            <a:chExt cx="2550984" cy="4676908"/>
          </a:xfrm>
          <a:solidFill>
            <a:schemeClr val="accent1"/>
          </a:solidFill>
        </p:grpSpPr>
        <p:grpSp>
          <p:nvGrpSpPr>
            <p:cNvPr id="9" name="Group 8"/>
            <p:cNvGrpSpPr/>
            <p:nvPr/>
          </p:nvGrpSpPr>
          <p:grpSpPr>
            <a:xfrm>
              <a:off x="1" y="4502072"/>
              <a:ext cx="1013573" cy="545364"/>
              <a:chOff x="1" y="4502072"/>
              <a:chExt cx="1013573" cy="545364"/>
            </a:xfrm>
            <a:grpFill/>
          </p:grpSpPr>
          <p:sp>
            <p:nvSpPr>
              <p:cNvPr id="64" name="Rectangle 63"/>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p:cNvGrpSpPr/>
            <p:nvPr/>
          </p:nvGrpSpPr>
          <p:grpSpPr>
            <a:xfrm>
              <a:off x="0" y="3469185"/>
              <a:ext cx="1162174" cy="545364"/>
              <a:chOff x="0" y="3469185"/>
              <a:chExt cx="1162174" cy="545364"/>
            </a:xfrm>
            <a:grpFill/>
          </p:grpSpPr>
          <p:sp>
            <p:nvSpPr>
              <p:cNvPr id="66" name="Rectangle 65"/>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p:cNvGrpSpPr/>
            <p:nvPr/>
          </p:nvGrpSpPr>
          <p:grpSpPr>
            <a:xfrm>
              <a:off x="0" y="2436300"/>
              <a:ext cx="1023436" cy="545364"/>
              <a:chOff x="0" y="2440184"/>
              <a:chExt cx="1023436" cy="545364"/>
            </a:xfrm>
            <a:grpFill/>
          </p:grpSpPr>
          <p:sp>
            <p:nvSpPr>
              <p:cNvPr id="68" name="Rectangle 67"/>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p:cNvGrpSpPr/>
            <p:nvPr/>
          </p:nvGrpSpPr>
          <p:grpSpPr>
            <a:xfrm>
              <a:off x="876713" y="5534957"/>
              <a:ext cx="1674271" cy="545364"/>
              <a:chOff x="876236" y="5534957"/>
              <a:chExt cx="1674271" cy="545364"/>
            </a:xfrm>
            <a:grpFill/>
          </p:grpSpPr>
          <p:sp>
            <p:nvSpPr>
              <p:cNvPr id="70" name="Rectangle 69"/>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p:cNvGrpSpPr/>
            <p:nvPr/>
          </p:nvGrpSpPr>
          <p:grpSpPr>
            <a:xfrm>
              <a:off x="1404844" y="4502072"/>
              <a:ext cx="1146140" cy="545364"/>
              <a:chOff x="1404367" y="4502072"/>
              <a:chExt cx="1146140" cy="545364"/>
            </a:xfrm>
            <a:grpFill/>
          </p:grpSpPr>
          <p:sp>
            <p:nvSpPr>
              <p:cNvPr id="73" name="Rectangle 7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p:cNvGrpSpPr/>
            <p:nvPr/>
          </p:nvGrpSpPr>
          <p:grpSpPr>
            <a:xfrm>
              <a:off x="1563753" y="3469185"/>
              <a:ext cx="987231" cy="545364"/>
              <a:chOff x="1560101" y="3469185"/>
              <a:chExt cx="987231" cy="545364"/>
            </a:xfrm>
            <a:grpFill/>
          </p:grpSpPr>
          <p:sp>
            <p:nvSpPr>
              <p:cNvPr id="76" name="Oval 75"/>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p:cNvGrpSpPr/>
            <p:nvPr/>
          </p:nvGrpSpPr>
          <p:grpSpPr>
            <a:xfrm>
              <a:off x="1416321" y="2436300"/>
              <a:ext cx="1134663" cy="545364"/>
              <a:chOff x="1415887" y="2436300"/>
              <a:chExt cx="1134663" cy="545364"/>
            </a:xfrm>
            <a:grpFill/>
          </p:grpSpPr>
          <p:sp>
            <p:nvSpPr>
              <p:cNvPr id="79" name="Oval 78"/>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3" name="Group 1"/>
            <p:cNvGrpSpPr/>
            <p:nvPr/>
          </p:nvGrpSpPr>
          <p:grpSpPr>
            <a:xfrm>
              <a:off x="898206" y="1403413"/>
              <a:ext cx="1652778" cy="545364"/>
              <a:chOff x="898206" y="1403413"/>
              <a:chExt cx="1652778" cy="545364"/>
            </a:xfrm>
            <a:grpFill/>
          </p:grpSpPr>
          <p:sp>
            <p:nvSpPr>
              <p:cNvPr id="82" name="Oval 81"/>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defRPr sz="3600" b="1">
                <a:solidFill>
                  <a:schemeClr val="bg1"/>
                </a:solidFill>
              </a:defRPr>
            </a:lvl1pPr>
          </a:lstStyle>
          <a:p>
            <a:r>
              <a:rPr lang="en-US"/>
              <a:t>Thought slides are 36pt </a:t>
            </a:r>
            <a:br>
              <a:rPr lang="en-US"/>
            </a:br>
            <a:r>
              <a:rPr lang="en-US"/>
              <a:t>Arial Bold sentence case</a:t>
            </a:r>
            <a:endParaRPr lang="en-US"/>
          </a:p>
        </p:txBody>
      </p:sp>
      <p:sp>
        <p:nvSpPr>
          <p:cNvPr id="30"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and Content">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142875"/>
          </a:xfrm>
          <a:prstGeom prst="rect">
            <a:avLst/>
          </a:prstGeom>
          <a:solidFill>
            <a:srgbClr val="DB9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62" name="TextBox 61"/>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sz="800">
                <a:solidFill>
                  <a:schemeClr val="bg1">
                    <a:lumMod val="50000"/>
                  </a:schemeClr>
                </a:solidFill>
                <a:ea typeface="Arial" panose="020B0604020202090204" pitchFamily="34" charset="0"/>
                <a:cs typeface="Arial" panose="020B0604020202090204" pitchFamily="34" charset="0"/>
              </a:rPr>
              <a:t>© 2020. All rights reserved. IQVIA</a:t>
            </a:r>
            <a:r>
              <a:rPr lang="en-US" sz="800" baseline="30000">
                <a:solidFill>
                  <a:schemeClr val="bg1">
                    <a:lumMod val="50000"/>
                  </a:schemeClr>
                </a:solidFill>
                <a:ea typeface="Arial" panose="020B0604020202090204" pitchFamily="34" charset="0"/>
                <a:cs typeface="Arial" panose="020B0604020202090204" pitchFamily="34" charset="0"/>
              </a:rPr>
              <a:t>®</a:t>
            </a:r>
            <a:r>
              <a:rPr lang="en-US" sz="800">
                <a:solidFill>
                  <a:schemeClr val="bg1">
                    <a:lumMod val="50000"/>
                  </a:schemeClr>
                </a:solidFill>
                <a:ea typeface="Arial" panose="020B0604020202090204" pitchFamily="34" charset="0"/>
                <a:cs typeface="Arial" panose="020B0604020202090204" pitchFamily="34" charset="0"/>
              </a:rPr>
              <a:t> is a registered trademark of IQVIA Inc. in the United States, the European Union, and various other countries. </a:t>
            </a:r>
            <a:endParaRPr lang="en-US" sz="800" kern="1200">
              <a:solidFill>
                <a:schemeClr val="bg1">
                  <a:lumMod val="50000"/>
                </a:schemeClr>
              </a:solidFill>
              <a:latin typeface="+mn-lt"/>
              <a:ea typeface="Arial" panose="020B0604020202090204" pitchFamily="34" charset="0"/>
              <a:cs typeface="Arial" panose="020B0604020202090204" pitchFamily="34" charset="0"/>
            </a:endParaRPr>
          </a:p>
        </p:txBody>
      </p:sp>
      <p:sp>
        <p:nvSpPr>
          <p:cNvPr id="64" name="Text Placeholder 21"/>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endParaRPr lang="en-US"/>
          </a:p>
        </p:txBody>
      </p:sp>
      <p:sp>
        <p:nvSpPr>
          <p:cNvPr id="70" name="Title 1"/>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endParaRPr lang="en-US"/>
          </a:p>
        </p:txBody>
      </p:sp>
      <p:sp>
        <p:nvSpPr>
          <p:cNvPr id="71" name="Subtitle 2"/>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endParaRPr lang="en-US"/>
          </a:p>
        </p:txBody>
      </p:sp>
      <p:grpSp>
        <p:nvGrpSpPr>
          <p:cNvPr id="61" name="Group 60"/>
          <p:cNvGrpSpPr/>
          <p:nvPr/>
        </p:nvGrpSpPr>
        <p:grpSpPr>
          <a:xfrm>
            <a:off x="7036244" y="2752016"/>
            <a:ext cx="5155756" cy="3703320"/>
            <a:chOff x="7036244" y="2752016"/>
            <a:chExt cx="5155756" cy="3703320"/>
          </a:xfrm>
          <a:solidFill>
            <a:schemeClr val="accent1"/>
          </a:solidFill>
        </p:grpSpPr>
        <p:sp>
          <p:nvSpPr>
            <p:cNvPr id="63" name="Freeform 62"/>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7" name="Graphic 1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endParaRPr lang="en-US"/>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5" name="object 2"/>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p:txBody>
      </p:sp>
      <p:sp>
        <p:nvSpPr>
          <p:cNvPr id="6" name="object 4"/>
          <p:cNvSpPr/>
          <p:nvPr userDrawn="1"/>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p:txBody>
      </p:sp>
      <p:sp>
        <p:nvSpPr>
          <p:cNvPr id="30" name="Slide Number Placeholder 5"/>
          <p:cNvSpPr txBox="1"/>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fld>
            <a:endParaRPr lang="en-US" sz="1000" b="1">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endParaRPr lang="en-US"/>
          </a:p>
        </p:txBody>
      </p:sp>
      <p:sp>
        <p:nvSpPr>
          <p:cNvPr id="54"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5" name="object 2"/>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p:txBody>
      </p:sp>
      <p:sp>
        <p:nvSpPr>
          <p:cNvPr id="30" name="Slide Number Placeholder 5"/>
          <p:cNvSpPr txBox="1"/>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fld>
            <a:endParaRPr lang="en-US" sz="1000" b="1">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53" name="Content Placeholder 2"/>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90204" pitchFamily="34" charset="0"/>
              <a:buChar char="-"/>
              <a:defRPr sz="1600">
                <a:solidFill>
                  <a:schemeClr val="tx1"/>
                </a:solidFill>
              </a:defRPr>
            </a:lvl2pPr>
            <a:lvl3pPr marL="548640" indent="-182880">
              <a:lnSpc>
                <a:spcPct val="100000"/>
              </a:lnSpc>
              <a:spcBef>
                <a:spcPts val="800"/>
              </a:spcBef>
              <a:buFont typeface="Arial" panose="020B0604020202090204" pitchFamily="34" charset="0"/>
              <a:buChar char="›"/>
              <a:defRPr sz="1600">
                <a:solidFill>
                  <a:schemeClr val="tx1"/>
                </a:solidFill>
              </a:defRPr>
            </a:lvl3pPr>
            <a:lvl4pPr marL="731520" indent="-182880">
              <a:lnSpc>
                <a:spcPct val="100000"/>
              </a:lnSpc>
              <a:spcBef>
                <a:spcPts val="800"/>
              </a:spcBef>
              <a:buFont typeface="Arial" panose="020B060402020209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a:p>
        </p:txBody>
      </p:sp>
      <p:sp>
        <p:nvSpPr>
          <p:cNvPr id="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endParaRPr lang="en-US"/>
          </a:p>
        </p:txBody>
      </p:sp>
      <p:sp>
        <p:nvSpPr>
          <p:cNvPr id="56" name="Footer Placeholder 4"/>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14" name="Graphic 13"/>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8" name="Graphic 7"/>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2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sp>
        <p:nvSpPr>
          <p:cNvPr id="51" name="Rectangle 50"/>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90204" pitchFamily="34" charset="0"/>
              <a:buChar char="•"/>
              <a:defRPr sz="1600">
                <a:solidFill>
                  <a:schemeClr val="tx1"/>
                </a:solidFill>
              </a:defRPr>
            </a:lvl2pPr>
            <a:lvl3pPr marL="548640" indent="-182880">
              <a:lnSpc>
                <a:spcPct val="100000"/>
              </a:lnSpc>
              <a:spcBef>
                <a:spcPts val="800"/>
              </a:spcBef>
              <a:buClrTx/>
              <a:buFont typeface="Arial" panose="020B0604020202090204" pitchFamily="34" charset="0"/>
              <a:buChar char="›"/>
              <a:defRPr sz="1600">
                <a:solidFill>
                  <a:schemeClr val="tx1"/>
                </a:solidFill>
              </a:defRPr>
            </a:lvl3pPr>
            <a:lvl4pPr marL="731520" indent="-182880">
              <a:lnSpc>
                <a:spcPct val="100000"/>
              </a:lnSpc>
              <a:spcBef>
                <a:spcPts val="800"/>
              </a:spcBef>
              <a:buClrTx/>
              <a:buFont typeface="Arial" panose="020B060402020209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a:p>
            <a:pPr lvl="0"/>
            <a:r>
              <a:rPr lang="en-US"/>
              <a:t>Arial 18pt bullet level 1</a:t>
            </a:r>
            <a:endParaRPr lang="en-US"/>
          </a:p>
          <a:p>
            <a:pPr lvl="1"/>
            <a:r>
              <a:rPr lang="en-US"/>
              <a:t>Arial 16pt bullet level 2</a:t>
            </a:r>
            <a:endParaRPr lang="en-US"/>
          </a:p>
          <a:p>
            <a:pPr lvl="2"/>
            <a:r>
              <a:rPr lang="en-US"/>
              <a:t>Arial 16pt bullet level 3</a:t>
            </a:r>
            <a:endParaRPr lang="en-US"/>
          </a:p>
          <a:p>
            <a:pPr lvl="3"/>
            <a:r>
              <a:rPr lang="en-US"/>
              <a:t>Arial 16pt bullet level 4</a:t>
            </a:r>
            <a:endParaRPr lang="en-US"/>
          </a:p>
          <a:p>
            <a:pPr lvl="4"/>
            <a:r>
              <a:rPr lang="en-US"/>
              <a:t>Arial 16pt bullet level 5</a:t>
            </a:r>
            <a:endParaRPr lang="en-US"/>
          </a:p>
        </p:txBody>
      </p:sp>
      <p:sp>
        <p:nvSpPr>
          <p:cNvPr id="57" name="Title 3"/>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endParaRPr lang="en-US"/>
          </a:p>
        </p:txBody>
      </p:sp>
      <p:grpSp>
        <p:nvGrpSpPr>
          <p:cNvPr id="5" name="Group 3"/>
          <p:cNvGrpSpPr/>
          <p:nvPr/>
        </p:nvGrpSpPr>
        <p:grpSpPr>
          <a:xfrm>
            <a:off x="-1" y="260324"/>
            <a:ext cx="1250388" cy="1575820"/>
            <a:chOff x="-1" y="260324"/>
            <a:chExt cx="1250388" cy="1575820"/>
          </a:xfrm>
          <a:solidFill>
            <a:schemeClr val="accent1"/>
          </a:solidFill>
        </p:grpSpPr>
        <p:grpSp>
          <p:nvGrpSpPr>
            <p:cNvPr id="78" name="Group 77"/>
            <p:cNvGrpSpPr/>
            <p:nvPr/>
          </p:nvGrpSpPr>
          <p:grpSpPr>
            <a:xfrm>
              <a:off x="686264" y="1652391"/>
              <a:ext cx="564123" cy="183753"/>
              <a:chOff x="876236" y="5534957"/>
              <a:chExt cx="1674271" cy="545364"/>
            </a:xfrm>
            <a:grpFill/>
          </p:grpSpPr>
          <p:sp>
            <p:nvSpPr>
              <p:cNvPr id="96" name="Rectangle 95"/>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p:cNvGrpSpPr/>
            <p:nvPr/>
          </p:nvGrpSpPr>
          <p:grpSpPr>
            <a:xfrm>
              <a:off x="864211" y="1304375"/>
              <a:ext cx="386176" cy="183753"/>
              <a:chOff x="1404367" y="4502072"/>
              <a:chExt cx="1146140" cy="545364"/>
            </a:xfrm>
            <a:grpFill/>
          </p:grpSpPr>
          <p:sp>
            <p:nvSpPr>
              <p:cNvPr id="93" name="Rectangle 9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p:cNvGrpSpPr/>
            <p:nvPr/>
          </p:nvGrpSpPr>
          <p:grpSpPr>
            <a:xfrm>
              <a:off x="917753" y="956358"/>
              <a:ext cx="332634" cy="183753"/>
              <a:chOff x="1560101" y="3469185"/>
              <a:chExt cx="987231" cy="545364"/>
            </a:xfrm>
            <a:grpFill/>
          </p:grpSpPr>
          <p:sp>
            <p:nvSpPr>
              <p:cNvPr id="90" name="Oval 89"/>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p:cNvGrpSpPr/>
            <p:nvPr/>
          </p:nvGrpSpPr>
          <p:grpSpPr>
            <a:xfrm>
              <a:off x="868078" y="608341"/>
              <a:ext cx="382309" cy="183753"/>
              <a:chOff x="1415887" y="2436300"/>
              <a:chExt cx="1134663" cy="545364"/>
            </a:xfrm>
            <a:grpFill/>
          </p:grpSpPr>
          <p:sp>
            <p:nvSpPr>
              <p:cNvPr id="87" name="Oval 86"/>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p:cNvGrpSpPr/>
            <p:nvPr/>
          </p:nvGrpSpPr>
          <p:grpSpPr>
            <a:xfrm>
              <a:off x="693506" y="260324"/>
              <a:ext cx="556881" cy="183753"/>
              <a:chOff x="898206" y="1403413"/>
              <a:chExt cx="1652778" cy="545364"/>
            </a:xfrm>
            <a:grpFill/>
          </p:grpSpPr>
          <p:sp>
            <p:nvSpPr>
              <p:cNvPr id="84" name="Oval 83"/>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p:cNvSpPr txBox="1"/>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fld>
            <a:endParaRPr lang="en-US" sz="800" b="0">
              <a:solidFill>
                <a:srgbClr val="959CA0"/>
              </a:solidFill>
            </a:endParaRPr>
          </a:p>
        </p:txBody>
      </p:sp>
      <p:pic>
        <p:nvPicPr>
          <p:cNvPr id="34" name="Graphic 33"/>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33" name="Graphic 32"/>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1"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pic>
        <p:nvPicPr>
          <p:cNvPr id="14" name="Graphic 1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
        <p:nvSpPr>
          <p:cNvPr id="60" name="Title 1"/>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endParaRPr lang="en-US"/>
          </a:p>
        </p:txBody>
      </p:sp>
      <p:sp>
        <p:nvSpPr>
          <p:cNvPr id="11"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grpSp>
        <p:nvGrpSpPr>
          <p:cNvPr id="57" name="Group 56"/>
          <p:cNvGrpSpPr/>
          <p:nvPr/>
        </p:nvGrpSpPr>
        <p:grpSpPr>
          <a:xfrm>
            <a:off x="7036244" y="2752016"/>
            <a:ext cx="5155756" cy="3703320"/>
            <a:chOff x="7036244" y="2752016"/>
            <a:chExt cx="5155756" cy="3703320"/>
          </a:xfrm>
          <a:solidFill>
            <a:schemeClr val="accent1"/>
          </a:solidFill>
        </p:grpSpPr>
        <p:sp>
          <p:nvSpPr>
            <p:cNvPr id="58" name="Freeform 57"/>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90204" pitchFamily="34" charset="0"/>
              <a:ea typeface="STZhongsong" panose="02010600040101010101" pitchFamily="2" charset="-122"/>
              <a:cs typeface="+mj-cs"/>
              <a:sym typeface="Arial" panose="020B0604020202090204" pitchFamily="34" charset="0"/>
            </a:endParaRPr>
          </a:p>
        </p:txBody>
      </p:sp>
      <p:grpSp>
        <p:nvGrpSpPr>
          <p:cNvPr id="10" name="Group 9"/>
          <p:cNvGrpSpPr/>
          <p:nvPr/>
        </p:nvGrpSpPr>
        <p:grpSpPr>
          <a:xfrm>
            <a:off x="0" y="1460563"/>
            <a:ext cx="2550984" cy="4676908"/>
            <a:chOff x="0" y="1403413"/>
            <a:chExt cx="2550984" cy="4676908"/>
          </a:xfrm>
          <a:solidFill>
            <a:schemeClr val="accent1"/>
          </a:solidFill>
        </p:grpSpPr>
        <p:grpSp>
          <p:nvGrpSpPr>
            <p:cNvPr id="9" name="Group 8"/>
            <p:cNvGrpSpPr/>
            <p:nvPr/>
          </p:nvGrpSpPr>
          <p:grpSpPr>
            <a:xfrm>
              <a:off x="1" y="4502072"/>
              <a:ext cx="1013573" cy="545364"/>
              <a:chOff x="1" y="4502072"/>
              <a:chExt cx="1013573" cy="545364"/>
            </a:xfrm>
            <a:grpFill/>
          </p:grpSpPr>
          <p:sp>
            <p:nvSpPr>
              <p:cNvPr id="64" name="Rectangle 63"/>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p:cNvGrpSpPr/>
            <p:nvPr/>
          </p:nvGrpSpPr>
          <p:grpSpPr>
            <a:xfrm>
              <a:off x="0" y="3469185"/>
              <a:ext cx="1162174" cy="545364"/>
              <a:chOff x="0" y="3469185"/>
              <a:chExt cx="1162174" cy="545364"/>
            </a:xfrm>
            <a:grpFill/>
          </p:grpSpPr>
          <p:sp>
            <p:nvSpPr>
              <p:cNvPr id="66" name="Rectangle 65"/>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p:cNvGrpSpPr/>
            <p:nvPr/>
          </p:nvGrpSpPr>
          <p:grpSpPr>
            <a:xfrm>
              <a:off x="0" y="2436300"/>
              <a:ext cx="1023436" cy="545364"/>
              <a:chOff x="0" y="2440184"/>
              <a:chExt cx="1023436" cy="545364"/>
            </a:xfrm>
            <a:grpFill/>
          </p:grpSpPr>
          <p:sp>
            <p:nvSpPr>
              <p:cNvPr id="68" name="Rectangle 67"/>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p:cNvGrpSpPr/>
            <p:nvPr/>
          </p:nvGrpSpPr>
          <p:grpSpPr>
            <a:xfrm>
              <a:off x="876713" y="5534957"/>
              <a:ext cx="1674271" cy="545364"/>
              <a:chOff x="876236" y="5534957"/>
              <a:chExt cx="1674271" cy="545364"/>
            </a:xfrm>
            <a:grpFill/>
          </p:grpSpPr>
          <p:sp>
            <p:nvSpPr>
              <p:cNvPr id="70" name="Rectangle 69"/>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p:cNvGrpSpPr/>
            <p:nvPr/>
          </p:nvGrpSpPr>
          <p:grpSpPr>
            <a:xfrm>
              <a:off x="1404844" y="4502072"/>
              <a:ext cx="1146140" cy="545364"/>
              <a:chOff x="1404367" y="4502072"/>
              <a:chExt cx="1146140" cy="545364"/>
            </a:xfrm>
            <a:grpFill/>
          </p:grpSpPr>
          <p:sp>
            <p:nvSpPr>
              <p:cNvPr id="73" name="Rectangle 72"/>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p:cNvGrpSpPr/>
            <p:nvPr/>
          </p:nvGrpSpPr>
          <p:grpSpPr>
            <a:xfrm>
              <a:off x="1563753" y="3469185"/>
              <a:ext cx="987231" cy="545364"/>
              <a:chOff x="1560101" y="3469185"/>
              <a:chExt cx="987231" cy="545364"/>
            </a:xfrm>
            <a:grpFill/>
          </p:grpSpPr>
          <p:sp>
            <p:nvSpPr>
              <p:cNvPr id="76" name="Oval 75"/>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p:cNvGrpSpPr/>
            <p:nvPr/>
          </p:nvGrpSpPr>
          <p:grpSpPr>
            <a:xfrm>
              <a:off x="1416321" y="2436300"/>
              <a:ext cx="1134663" cy="545364"/>
              <a:chOff x="1415887" y="2436300"/>
              <a:chExt cx="1134663" cy="545364"/>
            </a:xfrm>
            <a:grpFill/>
          </p:grpSpPr>
          <p:sp>
            <p:nvSpPr>
              <p:cNvPr id="79" name="Oval 78"/>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3" name="Group 1"/>
            <p:cNvGrpSpPr/>
            <p:nvPr/>
          </p:nvGrpSpPr>
          <p:grpSpPr>
            <a:xfrm>
              <a:off x="898206" y="1403413"/>
              <a:ext cx="1652778" cy="545364"/>
              <a:chOff x="898206" y="1403413"/>
              <a:chExt cx="1652778" cy="545364"/>
            </a:xfrm>
            <a:grpFill/>
          </p:grpSpPr>
          <p:sp>
            <p:nvSpPr>
              <p:cNvPr id="82" name="Oval 81"/>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defRPr sz="3600" b="1">
                <a:solidFill>
                  <a:schemeClr val="bg1"/>
                </a:solidFill>
              </a:defRPr>
            </a:lvl1pPr>
          </a:lstStyle>
          <a:p>
            <a:r>
              <a:rPr lang="en-US"/>
              <a:t>Thought slides are 36pt </a:t>
            </a:r>
            <a:br>
              <a:rPr lang="en-US"/>
            </a:br>
            <a:r>
              <a:rPr lang="en-US"/>
              <a:t>Arial Bold sentence case</a:t>
            </a:r>
            <a:endParaRPr lang="en-US"/>
          </a:p>
        </p:txBody>
      </p:sp>
      <p:sp>
        <p:nvSpPr>
          <p:cNvPr id="30" name="Slide Number Placeholder 5"/>
          <p:cNvSpPr txBox="1"/>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fld>
            <a:endParaRPr lang="en-US" sz="800" b="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fld>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vmlDrawing" Target="../drawings/vmlDrawing9.vml"/><Relationship Id="rId12" Type="http://schemas.openxmlformats.org/officeDocument/2006/relationships/image" Target="../media/image1.emf"/><Relationship Id="rId11" Type="http://schemas.openxmlformats.org/officeDocument/2006/relationships/oleObject" Target="../embeddings/oleObject9.bin"/><Relationship Id="rId10" Type="http://schemas.openxmlformats.org/officeDocument/2006/relationships/tags" Target="../tags/tag17.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8.xml"/><Relationship Id="rId8" Type="http://schemas.openxmlformats.org/officeDocument/2006/relationships/slideLayout" Target="../slideLayouts/slideLayout17.xml"/><Relationship Id="rId7" Type="http://schemas.openxmlformats.org/officeDocument/2006/relationships/slideLayout" Target="../slideLayouts/slideLayout16.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4" Type="http://schemas.openxmlformats.org/officeDocument/2006/relationships/theme" Target="../theme/theme2.xml"/><Relationship Id="rId13" Type="http://schemas.openxmlformats.org/officeDocument/2006/relationships/vmlDrawing" Target="../drawings/vmlDrawing18.vml"/><Relationship Id="rId12" Type="http://schemas.openxmlformats.org/officeDocument/2006/relationships/image" Target="../media/image1.emf"/><Relationship Id="rId11" Type="http://schemas.openxmlformats.org/officeDocument/2006/relationships/oleObject" Target="../embeddings/oleObject18.bin"/><Relationship Id="rId10" Type="http://schemas.openxmlformats.org/officeDocument/2006/relationships/tags" Target="../tags/tag34.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1" imgW="0" imgH="0" progId="TCLayout.ActiveDocument.1">
                  <p:embed/>
                </p:oleObj>
              </mc:Choice>
              <mc:Fallback>
                <p:oleObj name="think-cell Slide" r:id="rId11" imgW="0" imgH="0" progId="TCLayout.ActiveDocument.1">
                  <p:embed/>
                  <p:pic>
                    <p:nvPicPr>
                      <p:cNvPr id="0" name="Object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 name="矩形 3"/>
          <p:cNvSpPr/>
          <p:nvPr userDrawn="1"/>
        </p:nvSpPr>
        <p:spPr>
          <a:xfrm>
            <a:off x="12496800" y="184150"/>
            <a:ext cx="520700" cy="368300"/>
          </a:xfrm>
          <a:prstGeom prst="rect">
            <a:avLst/>
          </a:prstGeom>
          <a:solidFill>
            <a:srgbClr val="302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矩形 5"/>
          <p:cNvSpPr/>
          <p:nvPr userDrawn="1"/>
        </p:nvSpPr>
        <p:spPr>
          <a:xfrm>
            <a:off x="12496800" y="717550"/>
            <a:ext cx="520700" cy="368300"/>
          </a:xfrm>
          <a:prstGeom prst="rect">
            <a:avLst/>
          </a:prstGeom>
          <a:solidFill>
            <a:srgbClr val="766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矩形 6"/>
          <p:cNvSpPr/>
          <p:nvPr userDrawn="1"/>
        </p:nvSpPr>
        <p:spPr>
          <a:xfrm>
            <a:off x="12496800" y="1250950"/>
            <a:ext cx="520700" cy="368300"/>
          </a:xfrm>
          <a:prstGeom prst="rect">
            <a:avLst/>
          </a:prstGeom>
          <a:solidFill>
            <a:srgbClr val="5EB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1" imgW="0" imgH="0" progId="TCLayout.ActiveDocument.1">
                  <p:embed/>
                </p:oleObj>
              </mc:Choice>
              <mc:Fallback>
                <p:oleObj name="think-cell Slide" r:id="rId11" imgW="0" imgH="0" progId="TCLayout.ActiveDocument.1">
                  <p:embed/>
                  <p:pic>
                    <p:nvPicPr>
                      <p:cNvPr id="0" name="Object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 name="矩形 3"/>
          <p:cNvSpPr/>
          <p:nvPr userDrawn="1"/>
        </p:nvSpPr>
        <p:spPr>
          <a:xfrm>
            <a:off x="12496800" y="184150"/>
            <a:ext cx="520700" cy="368300"/>
          </a:xfrm>
          <a:prstGeom prst="rect">
            <a:avLst/>
          </a:prstGeom>
          <a:solidFill>
            <a:srgbClr val="302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矩形 5"/>
          <p:cNvSpPr/>
          <p:nvPr userDrawn="1"/>
        </p:nvSpPr>
        <p:spPr>
          <a:xfrm>
            <a:off x="12496800" y="717550"/>
            <a:ext cx="520700" cy="368300"/>
          </a:xfrm>
          <a:prstGeom prst="rect">
            <a:avLst/>
          </a:prstGeom>
          <a:solidFill>
            <a:srgbClr val="766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矩形 6"/>
          <p:cNvSpPr/>
          <p:nvPr userDrawn="1"/>
        </p:nvSpPr>
        <p:spPr>
          <a:xfrm>
            <a:off x="12496800" y="1250950"/>
            <a:ext cx="520700" cy="368300"/>
          </a:xfrm>
          <a:prstGeom prst="rect">
            <a:avLst/>
          </a:prstGeom>
          <a:solidFill>
            <a:srgbClr val="5EB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19.vml"/><Relationship Id="rId5" Type="http://schemas.openxmlformats.org/officeDocument/2006/relationships/slideLayout" Target="../slideLayouts/slideLayout9.xml"/><Relationship Id="rId4" Type="http://schemas.openxmlformats.org/officeDocument/2006/relationships/image" Target="../media/image13.png"/><Relationship Id="rId3" Type="http://schemas.openxmlformats.org/officeDocument/2006/relationships/image" Target="../media/image12.emf"/><Relationship Id="rId2" Type="http://schemas.openxmlformats.org/officeDocument/2006/relationships/oleObject" Target="../embeddings/oleObject19.bin"/><Relationship Id="rId1" Type="http://schemas.openxmlformats.org/officeDocument/2006/relationships/tags" Target="../tags/tag35.xml"/></Relationships>
</file>

<file path=ppt/slides/_rels/slide10.xml.rels><?xml version="1.0" encoding="UTF-8" standalone="yes"?>
<Relationships xmlns="http://schemas.openxmlformats.org/package/2006/relationships"><Relationship Id="rId9" Type="http://schemas.openxmlformats.org/officeDocument/2006/relationships/vmlDrawing" Target="../drawings/vmlDrawing27.vml"/><Relationship Id="rId8" Type="http://schemas.openxmlformats.org/officeDocument/2006/relationships/slideLayout" Target="../slideLayouts/slideLayout12.xml"/><Relationship Id="rId7" Type="http://schemas.openxmlformats.org/officeDocument/2006/relationships/image" Target="../media/image34.svg"/><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3" Type="http://schemas.openxmlformats.org/officeDocument/2006/relationships/image" Target="../media/image14.emf"/><Relationship Id="rId2" Type="http://schemas.openxmlformats.org/officeDocument/2006/relationships/oleObject" Target="../embeddings/oleObject27.bin"/><Relationship Id="rId1" Type="http://schemas.openxmlformats.org/officeDocument/2006/relationships/tags" Target="../tags/tag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20.vml"/><Relationship Id="rId4" Type="http://schemas.openxmlformats.org/officeDocument/2006/relationships/slideLayout" Target="../slideLayouts/slideLayout3.xml"/><Relationship Id="rId3" Type="http://schemas.openxmlformats.org/officeDocument/2006/relationships/image" Target="../media/image14.emf"/><Relationship Id="rId2" Type="http://schemas.openxmlformats.org/officeDocument/2006/relationships/oleObject" Target="../embeddings/oleObject20.bin"/><Relationship Id="rId1" Type="http://schemas.openxmlformats.org/officeDocument/2006/relationships/tags" Target="../tags/tag36.xml"/></Relationships>
</file>

<file path=ppt/slides/_rels/slide4.xml.rels><?xml version="1.0" encoding="UTF-8" standalone="yes"?>
<Relationships xmlns="http://schemas.openxmlformats.org/package/2006/relationships"><Relationship Id="rId9" Type="http://schemas.openxmlformats.org/officeDocument/2006/relationships/image" Target="../media/image20.png"/><Relationship Id="rId8" Type="http://schemas.openxmlformats.org/officeDocument/2006/relationships/image" Target="../media/image19.png"/><Relationship Id="rId7" Type="http://schemas.openxmlformats.org/officeDocument/2006/relationships/image" Target="../media/image18.svg"/><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3" Type="http://schemas.openxmlformats.org/officeDocument/2006/relationships/image" Target="../media/image14.emf"/><Relationship Id="rId2" Type="http://schemas.openxmlformats.org/officeDocument/2006/relationships/oleObject" Target="../embeddings/oleObject21.bin"/><Relationship Id="rId11" Type="http://schemas.openxmlformats.org/officeDocument/2006/relationships/vmlDrawing" Target="../drawings/vmlDrawing21.vml"/><Relationship Id="rId10" Type="http://schemas.openxmlformats.org/officeDocument/2006/relationships/slideLayout" Target="../slideLayouts/slideLayout3.xml"/><Relationship Id="rId1" Type="http://schemas.openxmlformats.org/officeDocument/2006/relationships/tags" Target="../tags/tag37.xml"/></Relationships>
</file>

<file path=ppt/slides/_rels/slide5.xml.rels><?xml version="1.0" encoding="UTF-8" standalone="yes"?>
<Relationships xmlns="http://schemas.openxmlformats.org/package/2006/relationships"><Relationship Id="rId5" Type="http://schemas.openxmlformats.org/officeDocument/2006/relationships/vmlDrawing" Target="../drawings/vmlDrawing22.vml"/><Relationship Id="rId4" Type="http://schemas.openxmlformats.org/officeDocument/2006/relationships/slideLayout" Target="../slideLayouts/slideLayout3.xml"/><Relationship Id="rId3" Type="http://schemas.openxmlformats.org/officeDocument/2006/relationships/image" Target="../media/image14.emf"/><Relationship Id="rId2" Type="http://schemas.openxmlformats.org/officeDocument/2006/relationships/oleObject" Target="../embeddings/oleObject22.bin"/><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9" Type="http://schemas.openxmlformats.org/officeDocument/2006/relationships/vmlDrawing" Target="../drawings/vmlDrawing23.vml"/><Relationship Id="rId8" Type="http://schemas.openxmlformats.org/officeDocument/2006/relationships/slideLayout" Target="../slideLayouts/slideLayout3.xml"/><Relationship Id="rId7" Type="http://schemas.openxmlformats.org/officeDocument/2006/relationships/tags" Target="../tags/tag4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14.emf"/><Relationship Id="rId2" Type="http://schemas.openxmlformats.org/officeDocument/2006/relationships/oleObject" Target="../embeddings/oleObject23.bin"/><Relationship Id="rId1" Type="http://schemas.openxmlformats.org/officeDocument/2006/relationships/tags" Target="../tags/tag39.xml"/></Relationships>
</file>

<file path=ppt/slides/_rels/slide7.xml.rels><?xml version="1.0" encoding="UTF-8" standalone="yes"?>
<Relationships xmlns="http://schemas.openxmlformats.org/package/2006/relationships"><Relationship Id="rId7" Type="http://schemas.openxmlformats.org/officeDocument/2006/relationships/vmlDrawing" Target="../drawings/vmlDrawing24.vml"/><Relationship Id="rId6" Type="http://schemas.openxmlformats.org/officeDocument/2006/relationships/slideLayout" Target="../slideLayouts/slideLayout3.xml"/><Relationship Id="rId5" Type="http://schemas.openxmlformats.org/officeDocument/2006/relationships/tags" Target="../tags/tag42.xml"/><Relationship Id="rId4" Type="http://schemas.openxmlformats.org/officeDocument/2006/relationships/image" Target="../media/image14.emf"/><Relationship Id="rId3" Type="http://schemas.openxmlformats.org/officeDocument/2006/relationships/oleObject" Target="../embeddings/oleObject24.bin"/><Relationship Id="rId2" Type="http://schemas.openxmlformats.org/officeDocument/2006/relationships/tags" Target="../tags/tag41.xml"/><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vmlDrawing" Target="../drawings/vmlDrawing25.vml"/><Relationship Id="rId7"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image" Target="../media/image14.emf"/><Relationship Id="rId2" Type="http://schemas.openxmlformats.org/officeDocument/2006/relationships/oleObject" Target="../embeddings/oleObject25.bin"/><Relationship Id="rId1" Type="http://schemas.openxmlformats.org/officeDocument/2006/relationships/tags" Target="../tags/tag43.xml"/></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12.xml"/><Relationship Id="rId8" Type="http://schemas.openxmlformats.org/officeDocument/2006/relationships/tags" Target="../tags/tag45.xml"/><Relationship Id="rId7" Type="http://schemas.openxmlformats.org/officeDocument/2006/relationships/image" Target="../media/image30.svg"/><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 Id="rId3" Type="http://schemas.openxmlformats.org/officeDocument/2006/relationships/image" Target="../media/image14.emf"/><Relationship Id="rId2" Type="http://schemas.openxmlformats.org/officeDocument/2006/relationships/oleObject" Target="../embeddings/oleObject26.bin"/><Relationship Id="rId10" Type="http://schemas.openxmlformats.org/officeDocument/2006/relationships/vmlDrawing" Target="../drawings/vmlDrawing26.vml"/><Relationship Id="rId1" Type="http://schemas.openxmlformats.org/officeDocument/2006/relationships/tags" Target="../tags/tag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object 5"/>
          <p:cNvSpPr txBox="1"/>
          <p:nvPr/>
        </p:nvSpPr>
        <p:spPr>
          <a:xfrm>
            <a:off x="2011681" y="1553803"/>
            <a:ext cx="8409488" cy="2943225"/>
          </a:xfrm>
          <a:prstGeom prst="rect">
            <a:avLst/>
          </a:prstGeom>
          <a:solidFill>
            <a:schemeClr val="accent1"/>
          </a:solidFill>
        </p:spPr>
        <p:txBody>
          <a:bodyPr vert="horz" wrap="square" lIns="182880" tIns="91440" rIns="182880" bIns="91440" rtlCol="0" anchor="ctr">
            <a:noAutofit/>
          </a:bodyPr>
          <a:lstStyle/>
          <a:p>
            <a:pPr marR="5080" algn="ctr">
              <a:lnSpc>
                <a:spcPts val="5015"/>
              </a:lnSpc>
              <a:spcBef>
                <a:spcPts val="105"/>
              </a:spcBef>
            </a:pPr>
            <a:r>
              <a:rPr lang="zh-CN" altLang="en-US" sz="4000" b="1" spc="-30" dirty="0">
                <a:solidFill>
                  <a:srgbClr val="FFFFFF"/>
                </a:solidFill>
                <a:latin typeface="微软雅黑" charset="0"/>
                <a:ea typeface="微软雅黑" charset="0"/>
                <a:cs typeface="微软雅黑" charset="0"/>
              </a:rPr>
              <a:t>氟比洛芬钠滴眼液 </a:t>
            </a:r>
            <a:endParaRPr lang="zh-CN" altLang="en-US" sz="4000" b="1" spc="-30" dirty="0">
              <a:solidFill>
                <a:srgbClr val="FFFFFF"/>
              </a:solidFill>
              <a:latin typeface="微软雅黑" charset="0"/>
              <a:ea typeface="微软雅黑" charset="0"/>
              <a:cs typeface="微软雅黑" charset="0"/>
            </a:endParaRPr>
          </a:p>
          <a:p>
            <a:pPr marR="5080" algn="ctr">
              <a:lnSpc>
                <a:spcPts val="5015"/>
              </a:lnSpc>
              <a:spcBef>
                <a:spcPts val="105"/>
              </a:spcBef>
            </a:pPr>
            <a:r>
              <a:rPr lang="en-US" altLang="zh-CN" sz="4000" b="1" spc="-30" dirty="0">
                <a:solidFill>
                  <a:srgbClr val="FFFFFF"/>
                </a:solidFill>
                <a:latin typeface="微软雅黑" charset="0"/>
                <a:ea typeface="微软雅黑" charset="0"/>
                <a:cs typeface="微软雅黑" charset="0"/>
              </a:rPr>
              <a:t>(</a:t>
            </a:r>
            <a:r>
              <a:rPr lang="zh-CN" altLang="en-US" sz="4000" b="1" spc="-30" dirty="0" err="1">
                <a:solidFill>
                  <a:srgbClr val="FFFFFF"/>
                </a:solidFill>
                <a:latin typeface="微软雅黑" charset="0"/>
                <a:ea typeface="微软雅黑" charset="0"/>
                <a:cs typeface="微软雅黑" charset="0"/>
              </a:rPr>
              <a:t>先洛比</a:t>
            </a:r>
            <a:r>
              <a:rPr lang="en-US" altLang="zh-CN" sz="4000" b="1" spc="-30" baseline="30000" dirty="0">
                <a:solidFill>
                  <a:srgbClr val="FFFFFF"/>
                </a:solidFill>
                <a:latin typeface="微软雅黑" charset="0"/>
                <a:ea typeface="微软雅黑" charset="0"/>
                <a:cs typeface="微软雅黑" charset="0"/>
              </a:rPr>
              <a:t>®</a:t>
            </a:r>
            <a:r>
              <a:rPr lang="en-US" altLang="zh-CN" sz="4000" b="1" spc="-30" dirty="0">
                <a:solidFill>
                  <a:srgbClr val="FFFFFF"/>
                </a:solidFill>
                <a:latin typeface="微软雅黑" charset="0"/>
                <a:ea typeface="微软雅黑" charset="0"/>
                <a:cs typeface="微软雅黑" charset="0"/>
              </a:rPr>
              <a:t>)</a:t>
            </a:r>
            <a:endParaRPr lang="zh-CN" altLang="en-US" sz="4000" dirty="0">
              <a:latin typeface="微软雅黑" charset="0"/>
              <a:ea typeface="微软雅黑" charset="0"/>
              <a:cs typeface="微软雅黑" charset="0"/>
            </a:endParaRPr>
          </a:p>
          <a:p>
            <a:pPr marR="5080" algn="ctr">
              <a:lnSpc>
                <a:spcPts val="5015"/>
              </a:lnSpc>
              <a:spcBef>
                <a:spcPts val="105"/>
              </a:spcBef>
            </a:pPr>
            <a:endParaRPr sz="4000" dirty="0">
              <a:latin typeface="微软雅黑" charset="0"/>
              <a:ea typeface="微软雅黑" charset="0"/>
              <a:cs typeface="微软雅黑" charset="0"/>
            </a:endParaRPr>
          </a:p>
        </p:txBody>
      </p:sp>
      <p:sp>
        <p:nvSpPr>
          <p:cNvPr id="6" name="object 6"/>
          <p:cNvSpPr txBox="1"/>
          <p:nvPr/>
        </p:nvSpPr>
        <p:spPr>
          <a:xfrm>
            <a:off x="2635794" y="3732705"/>
            <a:ext cx="10731784" cy="1282065"/>
          </a:xfrm>
          <a:prstGeom prst="rect">
            <a:avLst/>
          </a:prstGeom>
        </p:spPr>
        <p:txBody>
          <a:bodyPr vert="horz" wrap="square" lIns="0" tIns="12700" rIns="0" bIns="0" rtlCol="0">
            <a:spAutoFit/>
          </a:bodyPr>
          <a:lstStyle/>
          <a:p>
            <a:pPr marL="12700" marR="5080" indent="-12700">
              <a:lnSpc>
                <a:spcPct val="125000"/>
              </a:lnSpc>
              <a:spcBef>
                <a:spcPts val="100"/>
              </a:spcBef>
            </a:pPr>
            <a:r>
              <a:rPr lang="zh-CN" altLang="en-US" sz="1600" b="1" spc="-10" dirty="0">
                <a:solidFill>
                  <a:schemeClr val="bg1"/>
                </a:solidFill>
                <a:latin typeface="微软雅黑" charset="0"/>
                <a:ea typeface="微软雅黑" charset="0"/>
                <a:cs typeface="微软雅黑" charset="0"/>
              </a:rPr>
              <a:t>1、用于控制不建议使用类固醇患者的激光小梁成形术和其他术后的眼前段炎症。 </a:t>
            </a:r>
            <a:endParaRPr lang="zh-CN" altLang="en-US" sz="1600" b="1" spc="-10" dirty="0">
              <a:solidFill>
                <a:schemeClr val="bg1"/>
              </a:solidFill>
              <a:latin typeface="微软雅黑" charset="0"/>
              <a:ea typeface="微软雅黑" charset="0"/>
              <a:cs typeface="微软雅黑" charset="0"/>
            </a:endParaRPr>
          </a:p>
          <a:p>
            <a:pPr marL="12700" marR="5080" indent="-12700">
              <a:lnSpc>
                <a:spcPct val="125000"/>
              </a:lnSpc>
              <a:spcBef>
                <a:spcPts val="100"/>
              </a:spcBef>
            </a:pPr>
            <a:r>
              <a:rPr lang="zh-CN" altLang="en-US" sz="1600" b="1" spc="-10" dirty="0">
                <a:solidFill>
                  <a:schemeClr val="bg1"/>
                </a:solidFill>
                <a:latin typeface="微软雅黑" charset="0"/>
                <a:ea typeface="微软雅黑" charset="0"/>
                <a:cs typeface="微软雅黑" charset="0"/>
              </a:rPr>
              <a:t>2、用于抑制术中瞳孔缩小。本品不能替代散瞳药物。</a:t>
            </a:r>
            <a:endParaRPr lang="zh-CN" altLang="en-US" sz="1600" b="1" spc="-10" dirty="0">
              <a:solidFill>
                <a:schemeClr val="bg1"/>
              </a:solidFill>
              <a:latin typeface="微软雅黑" charset="0"/>
              <a:ea typeface="微软雅黑" charset="0"/>
              <a:cs typeface="微软雅黑" charset="0"/>
            </a:endParaRPr>
          </a:p>
          <a:p>
            <a:pPr marL="12700" marR="5080" indent="-12700">
              <a:lnSpc>
                <a:spcPct val="125000"/>
              </a:lnSpc>
              <a:spcBef>
                <a:spcPts val="100"/>
              </a:spcBef>
            </a:pPr>
            <a:endParaRPr lang="zh-CN" altLang="en-US" sz="1600" b="1" spc="-10" dirty="0">
              <a:solidFill>
                <a:schemeClr val="bg1"/>
              </a:solidFill>
              <a:latin typeface="微软雅黑" charset="0"/>
              <a:ea typeface="微软雅黑" charset="0"/>
              <a:cs typeface="微软雅黑" charset="0"/>
            </a:endParaRPr>
          </a:p>
          <a:p>
            <a:pPr marL="12700" marR="5080" indent="-12700">
              <a:lnSpc>
                <a:spcPct val="125000"/>
              </a:lnSpc>
              <a:spcBef>
                <a:spcPts val="100"/>
              </a:spcBef>
            </a:pPr>
            <a:endParaRPr lang="zh-CN" altLang="en-US" sz="1600" b="1" spc="-10" dirty="0">
              <a:solidFill>
                <a:schemeClr val="bg1"/>
              </a:solidFill>
              <a:latin typeface="微软雅黑" charset="0"/>
              <a:ea typeface="微软雅黑" charset="0"/>
              <a:cs typeface="微软雅黑" charset="0"/>
            </a:endParaRPr>
          </a:p>
        </p:txBody>
      </p:sp>
      <p:sp>
        <p:nvSpPr>
          <p:cNvPr id="3" name="TextBox 2"/>
          <p:cNvSpPr txBox="1"/>
          <p:nvPr/>
        </p:nvSpPr>
        <p:spPr>
          <a:xfrm>
            <a:off x="2846119" y="4864312"/>
            <a:ext cx="6836411" cy="499624"/>
          </a:xfrm>
          <a:prstGeom prst="rect">
            <a:avLst/>
          </a:prstGeom>
          <a:noFill/>
        </p:spPr>
        <p:txBody>
          <a:bodyPr wrap="square" rtlCol="0">
            <a:spAutoFit/>
          </a:bodyPr>
          <a:lstStyle/>
          <a:p>
            <a:pPr algn="ctr">
              <a:lnSpc>
                <a:spcPct val="150000"/>
              </a:lnSpc>
              <a:buClrTx/>
              <a:buSzTx/>
              <a:buFontTx/>
            </a:pPr>
            <a:r>
              <a:rPr lang="zh-CN" altLang="en-US" sz="2000" dirty="0">
                <a:solidFill>
                  <a:srgbClr val="302E5D"/>
                </a:solidFill>
                <a:latin typeface="微软雅黑" charset="0"/>
                <a:ea typeface="微软雅黑" charset="0"/>
                <a:cs typeface="微软雅黑" charset="0"/>
              </a:rPr>
              <a:t>上市许可持有人：扬州中宝药业股份有限公司</a:t>
            </a:r>
            <a:endParaRPr lang="zh-CN" altLang="en-US" sz="2000" dirty="0">
              <a:solidFill>
                <a:srgbClr val="302E5D"/>
              </a:solidFill>
              <a:latin typeface="微软雅黑" charset="0"/>
              <a:ea typeface="微软雅黑" charset="0"/>
              <a:cs typeface="微软雅黑" charset="0"/>
            </a:endParaRPr>
          </a:p>
        </p:txBody>
      </p:sp>
      <p:pic>
        <p:nvPicPr>
          <p:cNvPr id="4" name="图片 3" descr="微信图片_2026-03-10_123716_585"/>
          <p:cNvPicPr>
            <a:picLocks noChangeAspect="1"/>
          </p:cNvPicPr>
          <p:nvPr/>
        </p:nvPicPr>
        <p:blipFill>
          <a:blip r:embed="rId4"/>
          <a:stretch>
            <a:fillRect/>
          </a:stretch>
        </p:blipFill>
        <p:spPr>
          <a:xfrm>
            <a:off x="445135" y="304165"/>
            <a:ext cx="1980565" cy="408940"/>
          </a:xfrm>
          <a:prstGeom prst="rect">
            <a:avLst/>
          </a:prstGeom>
        </p:spPr>
      </p:pic>
      <p:sp>
        <p:nvSpPr>
          <p:cNvPr id="7" name="文本框 6"/>
          <p:cNvSpPr txBox="1"/>
          <p:nvPr/>
        </p:nvSpPr>
        <p:spPr>
          <a:xfrm>
            <a:off x="2281605" y="5891651"/>
            <a:ext cx="7965440" cy="499624"/>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000" b="0" i="0" u="none" strike="noStrike" kern="1200" cap="none" spc="0" normalizeH="0" baseline="0" noProof="0" dirty="0">
                <a:ln>
                  <a:noFill/>
                </a:ln>
                <a:solidFill>
                  <a:srgbClr val="302E5D"/>
                </a:solidFill>
                <a:effectLst/>
                <a:uLnTx/>
                <a:uFillTx/>
                <a:latin typeface="微软雅黑" charset="0"/>
                <a:ea typeface="微软雅黑" charset="0"/>
                <a:cs typeface="微软雅黑" charset="0"/>
                <a:sym typeface="+mn-ea"/>
              </a:rPr>
              <a:t>国内</a:t>
            </a:r>
            <a:r>
              <a:rPr kumimoji="0" lang="zh-CN" altLang="en-US" sz="2000" b="1" i="0" u="none" strike="noStrike" kern="1200" cap="none" spc="0" normalizeH="0" baseline="0" noProof="0" dirty="0">
                <a:ln>
                  <a:noFill/>
                </a:ln>
                <a:solidFill>
                  <a:srgbClr val="C00000"/>
                </a:solidFill>
                <a:effectLst/>
                <a:uLnTx/>
                <a:uFillTx/>
                <a:latin typeface="微软雅黑" charset="0"/>
                <a:ea typeface="微软雅黑" charset="0"/>
                <a:cs typeface="微软雅黑" charset="0"/>
                <a:sym typeface="+mn-ea"/>
              </a:rPr>
              <a:t>首个获批“抑制术中缩瞳+术后抗炎”</a:t>
            </a:r>
            <a:r>
              <a:rPr kumimoji="0" lang="zh-CN" altLang="en-US" sz="2000" b="0" i="0" u="none" strike="noStrike" kern="1200" cap="none" spc="0" normalizeH="0" baseline="0" noProof="0" dirty="0">
                <a:ln>
                  <a:noFill/>
                </a:ln>
                <a:solidFill>
                  <a:srgbClr val="302E5D"/>
                </a:solidFill>
                <a:effectLst/>
                <a:uLnTx/>
                <a:uFillTx/>
                <a:latin typeface="微软雅黑" charset="0"/>
                <a:ea typeface="微软雅黑" charset="0"/>
                <a:cs typeface="微软雅黑" charset="0"/>
                <a:sym typeface="+mn-ea"/>
              </a:rPr>
              <a:t>双适应症滴眼液</a:t>
            </a:r>
            <a:endParaRPr kumimoji="0" lang="zh-CN" altLang="en-US" sz="2000" b="0" i="0" u="none" strike="noStrike" kern="1200" cap="none" spc="0" normalizeH="0" baseline="0" noProof="0" dirty="0">
              <a:ln>
                <a:noFill/>
              </a:ln>
              <a:solidFill>
                <a:srgbClr val="302E5D"/>
              </a:solidFill>
              <a:effectLst/>
              <a:uLnTx/>
              <a:uFillTx/>
              <a:latin typeface="微软雅黑" charset="0"/>
              <a:ea typeface="微软雅黑" charset="0"/>
              <a:cs typeface="微软雅黑" charset="0"/>
              <a:sym typeface="+mn-ea"/>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194310" y="516056"/>
            <a:ext cx="11045306" cy="502437"/>
          </a:xfrm>
        </p:spPr>
        <p:txBody>
          <a:bodyPr vert="horz"/>
          <a:lstStyle/>
          <a:p>
            <a:r>
              <a:rPr kumimoji="1" lang="en-US" altLang="zh-CN" sz="2400" dirty="0" err="1">
                <a:latin typeface="微软雅黑" charset="0"/>
                <a:ea typeface="微软雅黑" charset="0"/>
                <a:cs typeface="思源黑体 CN Bold" panose="020B0800000000000000" pitchFamily="34" charset="-122"/>
                <a:sym typeface="+mn-ea"/>
              </a:rPr>
              <a:t>氟比洛芬钠滴眼液</a:t>
            </a:r>
            <a:r>
              <a:rPr kumimoji="1" lang="zh-CN" altLang="en-US" sz="2400" dirty="0">
                <a:solidFill>
                  <a:srgbClr val="C00000"/>
                </a:solidFill>
                <a:latin typeface="微软雅黑" charset="0"/>
                <a:ea typeface="微软雅黑" charset="0"/>
                <a:sym typeface="+mn-ea"/>
              </a:rPr>
              <a:t>填补围术期用药空白</a:t>
            </a:r>
            <a:r>
              <a:rPr kumimoji="1" lang="zh-CN" altLang="en-US" sz="2400" dirty="0">
                <a:latin typeface="微软雅黑" charset="0"/>
                <a:ea typeface="微软雅黑" charset="0"/>
                <a:sym typeface="+mn-ea"/>
              </a:rPr>
              <a:t>，一药兼顾术中稳瞳与术后抗炎，临床用药便捷，依从性更高</a:t>
            </a:r>
            <a:endParaRPr kumimoji="1" lang="zh-CN" altLang="en-US" sz="2400" dirty="0">
              <a:latin typeface="微软雅黑" charset="0"/>
              <a:ea typeface="微软雅黑" charset="0"/>
            </a:endParaRPr>
          </a:p>
        </p:txBody>
      </p:sp>
      <p:sp>
        <p:nvSpPr>
          <p:cNvPr id="13" name="Rectangle: Rounded Corners 10"/>
          <p:cNvSpPr/>
          <p:nvPr/>
        </p:nvSpPr>
        <p:spPr>
          <a:xfrm>
            <a:off x="589178" y="4052327"/>
            <a:ext cx="5421086" cy="2183793"/>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14" name="Group 16"/>
          <p:cNvGrpSpPr/>
          <p:nvPr/>
        </p:nvGrpSpPr>
        <p:grpSpPr>
          <a:xfrm>
            <a:off x="837015" y="3801110"/>
            <a:ext cx="2560320" cy="502436"/>
            <a:chOff x="705037" y="4039970"/>
            <a:chExt cx="2560320" cy="502436"/>
          </a:xfrm>
        </p:grpSpPr>
        <p:sp>
          <p:nvSpPr>
            <p:cNvPr id="15" name="Arrow: Pentagon 11"/>
            <p:cNvSpPr/>
            <p:nvPr/>
          </p:nvSpPr>
          <p:spPr>
            <a:xfrm>
              <a:off x="705037" y="4039970"/>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符合“保基本”原则</a:t>
              </a:r>
              <a:endPar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16" name="Group 654"/>
            <p:cNvGrpSpPr/>
            <p:nvPr/>
          </p:nvGrpSpPr>
          <p:grpSpPr>
            <a:xfrm>
              <a:off x="775755" y="4113869"/>
              <a:ext cx="361486" cy="354638"/>
              <a:chOff x="5083176" y="1931988"/>
              <a:chExt cx="382588" cy="304801"/>
            </a:xfrm>
            <a:solidFill>
              <a:schemeClr val="bg1"/>
            </a:solidFill>
          </p:grpSpPr>
          <p:sp>
            <p:nvSpPr>
              <p:cNvPr id="17" name="Freeform 478"/>
              <p:cNvSpPr/>
              <p:nvPr/>
            </p:nvSpPr>
            <p:spPr bwMode="auto">
              <a:xfrm>
                <a:off x="5083176" y="2082801"/>
                <a:ext cx="382588" cy="153988"/>
              </a:xfrm>
              <a:custGeom>
                <a:avLst/>
                <a:gdLst>
                  <a:gd name="T0" fmla="*/ 0 w 246"/>
                  <a:gd name="T1" fmla="*/ 69 h 99"/>
                  <a:gd name="T2" fmla="*/ 21 w 246"/>
                  <a:gd name="T3" fmla="*/ 63 h 99"/>
                  <a:gd name="T4" fmla="*/ 122 w 246"/>
                  <a:gd name="T5" fmla="*/ 99 h 99"/>
                  <a:gd name="T6" fmla="*/ 230 w 246"/>
                  <a:gd name="T7" fmla="*/ 57 h 99"/>
                  <a:gd name="T8" fmla="*/ 219 w 246"/>
                  <a:gd name="T9" fmla="*/ 31 h 99"/>
                  <a:gd name="T10" fmla="*/ 148 w 246"/>
                  <a:gd name="T11" fmla="*/ 54 h 99"/>
                  <a:gd name="T12" fmla="*/ 123 w 246"/>
                  <a:gd name="T13" fmla="*/ 75 h 99"/>
                  <a:gd name="T14" fmla="*/ 67 w 246"/>
                  <a:gd name="T15" fmla="*/ 54 h 99"/>
                  <a:gd name="T16" fmla="*/ 70 w 246"/>
                  <a:gd name="T17" fmla="*/ 47 h 99"/>
                  <a:gd name="T18" fmla="*/ 123 w 246"/>
                  <a:gd name="T19" fmla="*/ 68 h 99"/>
                  <a:gd name="T20" fmla="*/ 133 w 246"/>
                  <a:gd name="T21" fmla="*/ 42 h 99"/>
                  <a:gd name="T22" fmla="*/ 0 w 246"/>
                  <a:gd name="T23" fmla="*/ 9 h 99"/>
                  <a:gd name="T24" fmla="*/ 0 w 246"/>
                  <a:gd name="T2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99">
                    <a:moveTo>
                      <a:pt x="0" y="69"/>
                    </a:moveTo>
                    <a:cubicBezTo>
                      <a:pt x="10" y="65"/>
                      <a:pt x="18" y="63"/>
                      <a:pt x="21" y="63"/>
                    </a:cubicBezTo>
                    <a:cubicBezTo>
                      <a:pt x="31" y="63"/>
                      <a:pt x="100" y="99"/>
                      <a:pt x="122" y="99"/>
                    </a:cubicBezTo>
                    <a:cubicBezTo>
                      <a:pt x="141" y="99"/>
                      <a:pt x="230" y="57"/>
                      <a:pt x="230" y="57"/>
                    </a:cubicBezTo>
                    <a:cubicBezTo>
                      <a:pt x="246" y="51"/>
                      <a:pt x="235" y="25"/>
                      <a:pt x="219" y="31"/>
                    </a:cubicBezTo>
                    <a:cubicBezTo>
                      <a:pt x="148" y="54"/>
                      <a:pt x="148" y="54"/>
                      <a:pt x="148" y="54"/>
                    </a:cubicBezTo>
                    <a:cubicBezTo>
                      <a:pt x="146" y="70"/>
                      <a:pt x="133" y="77"/>
                      <a:pt x="123" y="75"/>
                    </a:cubicBezTo>
                    <a:cubicBezTo>
                      <a:pt x="115" y="73"/>
                      <a:pt x="67" y="54"/>
                      <a:pt x="67" y="54"/>
                    </a:cubicBezTo>
                    <a:cubicBezTo>
                      <a:pt x="70" y="47"/>
                      <a:pt x="70" y="47"/>
                      <a:pt x="70" y="47"/>
                    </a:cubicBezTo>
                    <a:cubicBezTo>
                      <a:pt x="123" y="68"/>
                      <a:pt x="123" y="68"/>
                      <a:pt x="123" y="68"/>
                    </a:cubicBezTo>
                    <a:cubicBezTo>
                      <a:pt x="137" y="71"/>
                      <a:pt x="149" y="50"/>
                      <a:pt x="133" y="42"/>
                    </a:cubicBezTo>
                    <a:cubicBezTo>
                      <a:pt x="67" y="11"/>
                      <a:pt x="43" y="0"/>
                      <a:pt x="0" y="9"/>
                    </a:cubicBezTo>
                    <a:cubicBezTo>
                      <a:pt x="0" y="21"/>
                      <a:pt x="0" y="64"/>
                      <a:pt x="0" y="69"/>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18" name="Freeform 479"/>
              <p:cNvSpPr/>
              <p:nvPr/>
            </p:nvSpPr>
            <p:spPr bwMode="auto">
              <a:xfrm>
                <a:off x="5256213"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19" name="Freeform 480"/>
              <p:cNvSpPr/>
              <p:nvPr/>
            </p:nvSpPr>
            <p:spPr bwMode="auto">
              <a:xfrm>
                <a:off x="5256213"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0" name="Freeform 481"/>
              <p:cNvSpPr/>
              <p:nvPr/>
            </p:nvSpPr>
            <p:spPr bwMode="auto">
              <a:xfrm>
                <a:off x="5256213"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1" name="Freeform 482"/>
              <p:cNvSpPr/>
              <p:nvPr/>
            </p:nvSpPr>
            <p:spPr bwMode="auto">
              <a:xfrm>
                <a:off x="5256213"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2" name="Freeform 483"/>
              <p:cNvSpPr/>
              <p:nvPr/>
            </p:nvSpPr>
            <p:spPr bwMode="auto">
              <a:xfrm>
                <a:off x="5343526"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3" name="Freeform 484"/>
              <p:cNvSpPr/>
              <p:nvPr/>
            </p:nvSpPr>
            <p:spPr bwMode="auto">
              <a:xfrm>
                <a:off x="5343526"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4" name="Freeform 485"/>
              <p:cNvSpPr/>
              <p:nvPr/>
            </p:nvSpPr>
            <p:spPr bwMode="auto">
              <a:xfrm>
                <a:off x="5343526"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5" name="Freeform 487"/>
              <p:cNvSpPr/>
              <p:nvPr/>
            </p:nvSpPr>
            <p:spPr bwMode="auto">
              <a:xfrm>
                <a:off x="5343525" y="2019301"/>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6" name="Freeform 488"/>
              <p:cNvSpPr/>
              <p:nvPr/>
            </p:nvSpPr>
            <p:spPr bwMode="auto">
              <a:xfrm>
                <a:off x="5343525"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27" name="Oval 489"/>
              <p:cNvSpPr>
                <a:spLocks noChangeArrowheads="1"/>
              </p:cNvSpPr>
              <p:nvPr/>
            </p:nvSpPr>
            <p:spPr bwMode="auto">
              <a:xfrm>
                <a:off x="5345113" y="1931988"/>
                <a:ext cx="74613" cy="7461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grpSp>
      </p:grpSp>
      <p:sp>
        <p:nvSpPr>
          <p:cNvPr id="28" name="TextBox 48"/>
          <p:cNvSpPr txBox="1"/>
          <p:nvPr/>
        </p:nvSpPr>
        <p:spPr>
          <a:xfrm>
            <a:off x="687879" y="4493896"/>
            <a:ext cx="5277876" cy="161582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本品兼具</a:t>
            </a:r>
            <a:r>
              <a:rPr kumimoji="1"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术中稳瞳与术后抗炎</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双适应症，</a:t>
            </a: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sym typeface="+mn-ea"/>
              </a:rPr>
              <a:t>一药两用</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避免联合用药的额外开销与潜在相互作用风险。</a:t>
            </a:r>
            <a:endParaRPr kumimoji="0" lang="en-US" altLang="zh-CN"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本品简化用药流程，同步达成手术安全和术后恢复两大目标</a:t>
            </a:r>
            <a:endParaRPr lang="en-US" altLang="zh-CN" sz="1400" dirty="0">
              <a:solidFill>
                <a:srgbClr val="2B3A42"/>
              </a:solidFill>
              <a:latin typeface="微软雅黑" panose="020B0503020204020204" pitchFamily="34" charset="-122"/>
              <a:ea typeface="微软雅黑" panose="020B0503020204020204" pitchFamily="34" charset="-122"/>
              <a:sym typeface="+mn-ea"/>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n-ea"/>
              </a:rPr>
              <a:t>双重覆盖缩短了整体治疗路径</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降低了重复给药带来的医保累积支出，</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n-ea"/>
              </a:rPr>
              <a:t>显著提升药物经济性</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更精准地贯彻了“保基本”原则。</a:t>
            </a:r>
            <a:endParaRPr kumimoji="0" lang="en-US" altLang="zh-CN" sz="1400" b="1" i="0" u="none" strike="noStrike" kern="1200" cap="none" spc="0" normalizeH="0" baseline="0" noProof="0" dirty="0">
              <a:ln>
                <a:noFill/>
              </a:ln>
              <a:solidFill>
                <a:srgbClr val="F0B323">
                  <a:lumMod val="75000"/>
                </a:srgbClr>
              </a:solidFill>
              <a:effectLst/>
              <a:uLnTx/>
              <a:uFillTx/>
              <a:latin typeface="微软雅黑" panose="020B0503020204020204" pitchFamily="34" charset="-122"/>
              <a:ea typeface="微软雅黑" panose="020B0503020204020204" pitchFamily="34" charset="-122"/>
              <a:cs typeface="+mn-cs"/>
              <a:sym typeface="+mn-ea"/>
            </a:endParaRPr>
          </a:p>
        </p:txBody>
      </p:sp>
      <p:grpSp>
        <p:nvGrpSpPr>
          <p:cNvPr id="59" name="组合 58"/>
          <p:cNvGrpSpPr/>
          <p:nvPr/>
        </p:nvGrpSpPr>
        <p:grpSpPr>
          <a:xfrm>
            <a:off x="6333571" y="3797117"/>
            <a:ext cx="5421086" cy="2437456"/>
            <a:chOff x="6313716" y="1282087"/>
            <a:chExt cx="5421086" cy="2437456"/>
          </a:xfrm>
        </p:grpSpPr>
        <p:sp>
          <p:nvSpPr>
            <p:cNvPr id="29" name="Rectangle: Rounded Corners 49"/>
            <p:cNvSpPr/>
            <p:nvPr/>
          </p:nvSpPr>
          <p:spPr>
            <a:xfrm>
              <a:off x="6313716" y="1535750"/>
              <a:ext cx="5421086" cy="2183793"/>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32" name="Group 9"/>
            <p:cNvGrpSpPr/>
            <p:nvPr/>
          </p:nvGrpSpPr>
          <p:grpSpPr>
            <a:xfrm>
              <a:off x="6534683" y="1282087"/>
              <a:ext cx="2560732" cy="548640"/>
              <a:chOff x="6561141" y="4005786"/>
              <a:chExt cx="2560732" cy="548640"/>
            </a:xfrm>
          </p:grpSpPr>
          <p:sp>
            <p:nvSpPr>
              <p:cNvPr id="33" name="Arrow: Pentagon 53"/>
              <p:cNvSpPr/>
              <p:nvPr/>
            </p:nvSpPr>
            <p:spPr>
              <a:xfrm>
                <a:off x="6561553" y="4028888"/>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临床管理难度低</a:t>
                </a:r>
                <a:endPar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34" name="Graphic 54"/>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61141" y="4005786"/>
                <a:ext cx="548640" cy="548640"/>
              </a:xfrm>
              <a:prstGeom prst="rect">
                <a:avLst/>
              </a:prstGeom>
            </p:spPr>
          </p:pic>
        </p:grpSp>
      </p:grpSp>
      <p:grpSp>
        <p:nvGrpSpPr>
          <p:cNvPr id="43" name="组合 42"/>
          <p:cNvGrpSpPr/>
          <p:nvPr/>
        </p:nvGrpSpPr>
        <p:grpSpPr>
          <a:xfrm>
            <a:off x="589177" y="1292484"/>
            <a:ext cx="5421086" cy="2343256"/>
            <a:chOff x="6313716" y="3835782"/>
            <a:chExt cx="5421086" cy="2343256"/>
          </a:xfrm>
        </p:grpSpPr>
        <p:sp>
          <p:nvSpPr>
            <p:cNvPr id="31" name="Rectangle: Rounded Corners 52"/>
            <p:cNvSpPr/>
            <p:nvPr/>
          </p:nvSpPr>
          <p:spPr>
            <a:xfrm>
              <a:off x="6313716" y="4075918"/>
              <a:ext cx="5421086"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35" name="Group 17"/>
            <p:cNvGrpSpPr/>
            <p:nvPr/>
          </p:nvGrpSpPr>
          <p:grpSpPr>
            <a:xfrm>
              <a:off x="6534683" y="3835782"/>
              <a:ext cx="2560320" cy="502436"/>
              <a:chOff x="705037" y="1284461"/>
              <a:chExt cx="2560320" cy="502436"/>
            </a:xfrm>
          </p:grpSpPr>
          <p:sp>
            <p:nvSpPr>
              <p:cNvPr id="36" name="Arrow: Pentagon 18"/>
              <p:cNvSpPr/>
              <p:nvPr/>
            </p:nvSpPr>
            <p:spPr>
              <a:xfrm>
                <a:off x="705037" y="1284461"/>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提升公共健康水平</a:t>
                </a:r>
                <a:endPar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37" name="Graphic 20"/>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5037" y="1337260"/>
                <a:ext cx="437422" cy="437422"/>
              </a:xfrm>
              <a:prstGeom prst="rect">
                <a:avLst/>
              </a:prstGeom>
            </p:spPr>
          </p:pic>
        </p:grpSp>
      </p:grpSp>
      <p:grpSp>
        <p:nvGrpSpPr>
          <p:cNvPr id="42" name="组合 41"/>
          <p:cNvGrpSpPr/>
          <p:nvPr/>
        </p:nvGrpSpPr>
        <p:grpSpPr>
          <a:xfrm>
            <a:off x="6333571" y="1286335"/>
            <a:ext cx="5477429" cy="2354825"/>
            <a:chOff x="402227" y="1282087"/>
            <a:chExt cx="5477429" cy="2354825"/>
          </a:xfrm>
        </p:grpSpPr>
        <p:sp>
          <p:nvSpPr>
            <p:cNvPr id="4" name="Rectangle: Rounded Corners 8"/>
            <p:cNvSpPr/>
            <p:nvPr/>
          </p:nvSpPr>
          <p:spPr>
            <a:xfrm>
              <a:off x="402227" y="1533792"/>
              <a:ext cx="5477429"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38" name="Group 21"/>
            <p:cNvGrpSpPr/>
            <p:nvPr/>
          </p:nvGrpSpPr>
          <p:grpSpPr>
            <a:xfrm>
              <a:off x="705037" y="1282087"/>
              <a:ext cx="2560320" cy="502436"/>
              <a:chOff x="6561553" y="1282087"/>
              <a:chExt cx="2560320" cy="502436"/>
            </a:xfrm>
          </p:grpSpPr>
          <p:sp>
            <p:nvSpPr>
              <p:cNvPr id="39" name="Arrow: Pentagon 23"/>
              <p:cNvSpPr/>
              <p:nvPr/>
            </p:nvSpPr>
            <p:spPr>
              <a:xfrm>
                <a:off x="6561553" y="1282087"/>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弥补目录短板</a:t>
                </a:r>
                <a:endPar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0" name="Freeform 1174"/>
              <p:cNvSpPr>
                <a:spLocks noEditPoints="1"/>
              </p:cNvSpPr>
              <p:nvPr/>
            </p:nvSpPr>
            <p:spPr bwMode="auto">
              <a:xfrm>
                <a:off x="6746494" y="1350593"/>
                <a:ext cx="363287" cy="375064"/>
              </a:xfrm>
              <a:custGeom>
                <a:avLst/>
                <a:gdLst>
                  <a:gd name="T0" fmla="*/ 19 w 203"/>
                  <a:gd name="T1" fmla="*/ 19 h 203"/>
                  <a:gd name="T2" fmla="*/ 18 w 203"/>
                  <a:gd name="T3" fmla="*/ 85 h 203"/>
                  <a:gd name="T4" fmla="*/ 114 w 203"/>
                  <a:gd name="T5" fmla="*/ 181 h 203"/>
                  <a:gd name="T6" fmla="*/ 184 w 203"/>
                  <a:gd name="T7" fmla="*/ 184 h 203"/>
                  <a:gd name="T8" fmla="*/ 181 w 203"/>
                  <a:gd name="T9" fmla="*/ 113 h 203"/>
                  <a:gd name="T10" fmla="*/ 85 w 203"/>
                  <a:gd name="T11" fmla="*/ 17 h 203"/>
                  <a:gd name="T12" fmla="*/ 19 w 203"/>
                  <a:gd name="T13" fmla="*/ 19 h 203"/>
                  <a:gd name="T14" fmla="*/ 169 w 203"/>
                  <a:gd name="T15" fmla="*/ 119 h 203"/>
                  <a:gd name="T16" fmla="*/ 184 w 203"/>
                  <a:gd name="T17" fmla="*/ 149 h 203"/>
                  <a:gd name="T18" fmla="*/ 175 w 203"/>
                  <a:gd name="T19" fmla="*/ 174 h 203"/>
                  <a:gd name="T20" fmla="*/ 150 w 203"/>
                  <a:gd name="T21" fmla="*/ 184 h 203"/>
                  <a:gd name="T22" fmla="*/ 119 w 203"/>
                  <a:gd name="T23" fmla="*/ 169 h 203"/>
                  <a:gd name="T24" fmla="*/ 76 w 203"/>
                  <a:gd name="T25" fmla="*/ 125 h 203"/>
                  <a:gd name="T26" fmla="*/ 126 w 203"/>
                  <a:gd name="T27" fmla="*/ 76 h 203"/>
                  <a:gd name="T28" fmla="*/ 169 w 203"/>
                  <a:gd name="T2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3">
                    <a:moveTo>
                      <a:pt x="19" y="19"/>
                    </a:moveTo>
                    <a:cubicBezTo>
                      <a:pt x="0" y="38"/>
                      <a:pt x="1" y="68"/>
                      <a:pt x="18" y="85"/>
                    </a:cubicBezTo>
                    <a:cubicBezTo>
                      <a:pt x="114" y="181"/>
                      <a:pt x="114" y="181"/>
                      <a:pt x="114" y="181"/>
                    </a:cubicBezTo>
                    <a:cubicBezTo>
                      <a:pt x="135" y="202"/>
                      <a:pt x="165" y="203"/>
                      <a:pt x="184" y="184"/>
                    </a:cubicBezTo>
                    <a:cubicBezTo>
                      <a:pt x="203" y="165"/>
                      <a:pt x="203" y="135"/>
                      <a:pt x="181" y="113"/>
                    </a:cubicBezTo>
                    <a:cubicBezTo>
                      <a:pt x="85" y="17"/>
                      <a:pt x="85" y="17"/>
                      <a:pt x="85" y="17"/>
                    </a:cubicBezTo>
                    <a:cubicBezTo>
                      <a:pt x="69" y="1"/>
                      <a:pt x="38" y="0"/>
                      <a:pt x="19" y="19"/>
                    </a:cubicBezTo>
                    <a:moveTo>
                      <a:pt x="169" y="119"/>
                    </a:moveTo>
                    <a:cubicBezTo>
                      <a:pt x="181" y="131"/>
                      <a:pt x="184" y="140"/>
                      <a:pt x="184" y="149"/>
                    </a:cubicBezTo>
                    <a:cubicBezTo>
                      <a:pt x="184" y="159"/>
                      <a:pt x="181" y="167"/>
                      <a:pt x="175" y="174"/>
                    </a:cubicBezTo>
                    <a:cubicBezTo>
                      <a:pt x="168" y="181"/>
                      <a:pt x="159" y="184"/>
                      <a:pt x="150" y="184"/>
                    </a:cubicBezTo>
                    <a:cubicBezTo>
                      <a:pt x="140" y="184"/>
                      <a:pt x="131" y="180"/>
                      <a:pt x="119" y="169"/>
                    </a:cubicBezTo>
                    <a:cubicBezTo>
                      <a:pt x="76" y="125"/>
                      <a:pt x="76" y="125"/>
                      <a:pt x="76" y="125"/>
                    </a:cubicBezTo>
                    <a:cubicBezTo>
                      <a:pt x="126" y="76"/>
                      <a:pt x="126" y="76"/>
                      <a:pt x="126" y="76"/>
                    </a:cubicBezTo>
                    <a:lnTo>
                      <a:pt x="169" y="119"/>
                    </a:lnTo>
                    <a:close/>
                  </a:path>
                </a:pathLst>
              </a:custGeom>
              <a:solidFill>
                <a:schemeClr val="bg1"/>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000" b="0" i="0" u="none" strike="noStrike" kern="1200" cap="none" spc="0" normalizeH="0" baseline="0" noProof="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grpSp>
      </p:grpSp>
      <p:sp>
        <p:nvSpPr>
          <p:cNvPr id="11" name="Rectangle: Top Corners Rounded 10"/>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基本信息</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4" name="Rectangle: Top Corners Rounded 43"/>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创新性</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5" name="Rectangle: Top Corners Rounded 44"/>
          <p:cNvSpPr/>
          <p:nvPr/>
        </p:nvSpPr>
        <p:spPr>
          <a:xfrm rot="5400000">
            <a:off x="-227354" y="5506020"/>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6" name="TextBox 13"/>
          <p:cNvSpPr txBox="1"/>
          <p:nvPr/>
        </p:nvSpPr>
        <p:spPr>
          <a:xfrm>
            <a:off x="6390137" y="1908964"/>
            <a:ext cx="5380742" cy="128496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当前医保目录中</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n-ea"/>
              </a:rPr>
              <a:t>尚缺少</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通过一致性评价、且明确用于抑制白内障术中缩瞳的局部眼用 </a:t>
            </a:r>
            <a:r>
              <a:rPr kumimoji="0" lang="en-US" altLang="zh-CN"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NSAID </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药物。</a:t>
            </a:r>
            <a:endParaRPr kumimoji="0" lang="en-US" altLang="zh-CN"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微软雅黑" charset="0"/>
                <a:sym typeface="+mn-ea"/>
              </a:rPr>
              <a:t>本品纳入医保后，可</a:t>
            </a: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sym typeface="+mn-ea"/>
              </a:rPr>
              <a:t>补齐眼科围术期“术中缩瞳抑制”这一细分场景的目录短板</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微软雅黑" charset="0"/>
                <a:sym typeface="+mn-ea"/>
              </a:rPr>
              <a:t>，为白内障等眼科手术患者提供质量一致性明确、适应症清晰、支付可及的治疗选择。</a:t>
            </a:r>
            <a:endParaRPr kumimoji="0" lang="en-GB" altLang="zh-CN" sz="12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7" name="TextBox 48"/>
          <p:cNvSpPr txBox="1"/>
          <p:nvPr/>
        </p:nvSpPr>
        <p:spPr>
          <a:xfrm>
            <a:off x="6428888" y="4370104"/>
            <a:ext cx="5212079" cy="222368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无临床滥用或超说明书用药的风险</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本品说明书</a:t>
            </a:r>
            <a:r>
              <a:rPr kumimoji="0" lang="zh-CN" altLang="en-US" sz="1400" b="1" i="0" u="none" strike="noStrike" kern="1200" cap="none" spc="0" normalizeH="0" baseline="0" noProof="0" dirty="0">
                <a:ln>
                  <a:noFill/>
                </a:ln>
                <a:solidFill>
                  <a:srgbClr val="302E5D">
                    <a:lumMod val="75000"/>
                  </a:srgbClr>
                </a:solidFill>
                <a:effectLst/>
                <a:uLnTx/>
                <a:uFillTx/>
                <a:latin typeface="微软雅黑" charset="0"/>
                <a:ea typeface="微软雅黑" charset="0"/>
                <a:cs typeface="+mn-cs"/>
                <a:sym typeface="+mn-ea"/>
              </a:rPr>
              <a:t>用法用量明确</a:t>
            </a:r>
            <a:r>
              <a:rPr kumimoji="0" lang="zh-CN" altLang="en-US" sz="1400" b="0" i="0" u="none" strike="noStrike" kern="1200" cap="none" spc="0" normalizeH="0" baseline="0" noProof="0" dirty="0">
                <a:ln>
                  <a:noFill/>
                </a:ln>
                <a:solidFill>
                  <a:srgbClr val="302E5D">
                    <a:lumMod val="75000"/>
                  </a:srgbClr>
                </a:solidFill>
                <a:effectLst/>
                <a:uLnTx/>
                <a:uFillTx/>
                <a:latin typeface="微软雅黑" charset="0"/>
                <a:ea typeface="微软雅黑" charset="0"/>
                <a:cs typeface="+mn-cs"/>
                <a:sym typeface="+mn-ea"/>
              </a:rPr>
              <a:t>，</a:t>
            </a:r>
            <a:r>
              <a:rPr kumimoji="0" lang="zh-CN" altLang="en-US" sz="1400" b="1" i="0" u="none" strike="noStrike" kern="1200" cap="none" spc="0" normalizeH="0" baseline="0" noProof="0" dirty="0">
                <a:ln>
                  <a:noFill/>
                </a:ln>
                <a:solidFill>
                  <a:srgbClr val="302E5D">
                    <a:lumMod val="75000"/>
                  </a:srgbClr>
                </a:solidFill>
                <a:effectLst/>
                <a:uLnTx/>
                <a:uFillTx/>
                <a:latin typeface="微软雅黑" charset="0"/>
                <a:ea typeface="微软雅黑" charset="0"/>
                <a:cs typeface="+mn-cs"/>
                <a:sym typeface="+mn-ea"/>
              </a:rPr>
              <a:t>术前、术后使用阶段清楚</a:t>
            </a:r>
            <a:r>
              <a:rPr kumimoji="0" lang="zh-CN" altLang="en-US"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便于医疗机构管理</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本品</a:t>
            </a:r>
            <a:r>
              <a:rPr kumimoji="0" lang="zh-CN" altLang="en-US"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无需冷藏储存，常温下性质稳定，</a:t>
            </a:r>
            <a:r>
              <a:rPr kumimoji="0" lang="zh-CN" altLang="en-US" sz="1400" b="1" i="0" u="none" strike="noStrike" kern="1200" cap="none" spc="0" normalizeH="0" baseline="0" noProof="0" dirty="0">
                <a:ln>
                  <a:noFill/>
                </a:ln>
                <a:solidFill>
                  <a:srgbClr val="302E5D">
                    <a:lumMod val="75000"/>
                  </a:srgbClr>
                </a:solidFill>
                <a:effectLst/>
                <a:uLnTx/>
                <a:uFillTx/>
                <a:latin typeface="微软雅黑" charset="0"/>
                <a:ea typeface="微软雅黑" charset="0"/>
                <a:cs typeface="+mn-cs"/>
                <a:sym typeface="+mn-ea"/>
              </a:rPr>
              <a:t>单剂量包装便于按疗程核算用量</a:t>
            </a:r>
            <a:r>
              <a:rPr kumimoji="0" lang="zh-CN" altLang="en-US" sz="1400" b="0" i="0" u="none" strike="noStrike" kern="1200" cap="none" spc="0" normalizeH="0" baseline="0" noProof="0" dirty="0">
                <a:ln>
                  <a:noFill/>
                </a:ln>
                <a:solidFill>
                  <a:srgbClr val="302E5D">
                    <a:lumMod val="75000"/>
                  </a:srgbClr>
                </a:solidFill>
                <a:effectLst/>
                <a:uLnTx/>
                <a:uFillTx/>
                <a:latin typeface="微软雅黑" charset="0"/>
                <a:ea typeface="微软雅黑" charset="0"/>
                <a:cs typeface="+mn-cs"/>
                <a:sym typeface="+mn-ea"/>
              </a:rPr>
              <a:t>，</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有利于医疗机构开展规范处方和医保审核管理，临床管理方便。</a:t>
            </a:r>
            <a:endParaRPr kumimoji="0" lang="en-GB" altLang="zh-CN"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患者用药依从性提升</a:t>
            </a:r>
            <a:r>
              <a:rPr kumimoji="0" lang="zh-CN" altLang="en-US"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一药兼顾术中稳瞳与术后抗炎，临床用药便捷，依从性更高</a:t>
            </a:r>
            <a:r>
              <a:rPr kumimoji="0" lang="zh-CN" altLang="en-US"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endParaRPr kumimoji="0" lang="zh-CN" altLang="en-US" sz="1400" b="0" i="0" u="none" strike="noStrike" kern="1200" cap="none" spc="0" normalizeH="0" baseline="0" noProof="0" dirty="0">
              <a:ln>
                <a:noFill/>
              </a:ln>
              <a:solidFill>
                <a:srgbClr val="302E5D"/>
              </a:solidFill>
              <a:effectLst/>
              <a:highlight>
                <a:srgbClr val="FFFF00"/>
              </a:highlight>
              <a:uLnTx/>
              <a:uFillTx/>
              <a:latin typeface="微软雅黑" panose="020B0503020204020204" pitchFamily="34" charset="-122"/>
              <a:ea typeface="微软雅黑" panose="020B0503020204020204" pitchFamily="34" charset="-122"/>
              <a:cs typeface="+mn-cs"/>
            </a:endParaRPr>
          </a:p>
        </p:txBody>
      </p:sp>
      <p:sp>
        <p:nvSpPr>
          <p:cNvPr id="5" name="TextBox 48"/>
          <p:cNvSpPr txBox="1"/>
          <p:nvPr/>
        </p:nvSpPr>
        <p:spPr>
          <a:xfrm>
            <a:off x="687879" y="1946636"/>
            <a:ext cx="5212080" cy="128496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本品通过术中稳定瞳孔维持手术安全，术后快速抗炎促进恢复，双效协同可</a:t>
            </a: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降低手术并发症风险、缩短患者康复周期</a:t>
            </a: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300"/>
              </a:spcBef>
              <a:spcAft>
                <a:spcPts val="600"/>
              </a:spcAft>
              <a:buClr>
                <a:srgbClr val="2B3A42"/>
              </a:buClr>
              <a:buSzTx/>
              <a:buFont typeface="Arial" panose="020B0604020202090204" pitchFamily="34" charset="0"/>
              <a:buChar char="•"/>
              <a:defRPr/>
            </a:pPr>
            <a:r>
              <a:rPr kumimoji="0" lang="zh-CN" altLang="en-US" sz="1400" b="0"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减少术后视力损伤等严重事件，提升眼科手术整体质量与患者生存获益，</a:t>
            </a: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从个体康复到群体防盲治盲层面，切实提升公共健康水平。</a:t>
            </a:r>
            <a:endParaRPr kumimoji="0" lang="en-US" altLang="zh-CN"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endParaRPr>
          </a:p>
        </p:txBody>
      </p:sp>
      <p:sp>
        <p:nvSpPr>
          <p:cNvPr id="9"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安全性</a:t>
            </a:r>
            <a:endParaRPr kumimoji="0" 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0" name="Rectangle: Top Corners Rounded 40"/>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有效性</a:t>
            </a:r>
            <a:endParaRPr kumimoji="0" 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8"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9</a:t>
            </a:r>
            <a:endParaRPr kumimoji="0" sz="10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charset="0"/>
                <a:ea typeface="微软雅黑" charset="0"/>
              </a:rPr>
              <a:t>总结</a:t>
            </a:r>
            <a:endParaRPr lang="zh-CN" altLang="en-US" dirty="0">
              <a:latin typeface="微软雅黑" charset="0"/>
              <a:ea typeface="微软雅黑" charset="0"/>
            </a:endParaRPr>
          </a:p>
        </p:txBody>
      </p:sp>
      <p:sp>
        <p:nvSpPr>
          <p:cNvPr id="4" name="Rectangle 8"/>
          <p:cNvSpPr/>
          <p:nvPr/>
        </p:nvSpPr>
        <p:spPr>
          <a:xfrm>
            <a:off x="773326" y="1437527"/>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srgbClr val="FFFFFF"/>
                </a:solidFill>
                <a:effectLst/>
                <a:uLnTx/>
                <a:uFillTx/>
                <a:latin typeface="微软雅黑" charset="0"/>
                <a:ea typeface="微软雅黑" charset="0"/>
                <a:cs typeface="+mn-cs"/>
              </a:rPr>
              <a:t>1</a:t>
            </a:r>
            <a:endParaRPr kumimoji="0" lang="en-US" altLang="zh-CN" sz="1800" b="1" i="0" u="none" strike="noStrike" kern="0" cap="none" spc="0" normalizeH="0" baseline="0" noProof="0">
              <a:ln>
                <a:noFill/>
              </a:ln>
              <a:solidFill>
                <a:srgbClr val="FFFFFF"/>
              </a:solidFill>
              <a:effectLst/>
              <a:uLnTx/>
              <a:uFillTx/>
              <a:latin typeface="微软雅黑" charset="0"/>
              <a:ea typeface="微软雅黑" charset="0"/>
              <a:cs typeface="+mn-cs"/>
            </a:endParaRPr>
          </a:p>
        </p:txBody>
      </p:sp>
      <p:sp>
        <p:nvSpPr>
          <p:cNvPr id="5" name="Rectangle 8"/>
          <p:cNvSpPr/>
          <p:nvPr/>
        </p:nvSpPr>
        <p:spPr>
          <a:xfrm>
            <a:off x="1668135" y="1317819"/>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药品基本信息</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6" name="Rectangle 8"/>
          <p:cNvSpPr/>
          <p:nvPr/>
        </p:nvSpPr>
        <p:spPr>
          <a:xfrm>
            <a:off x="773326" y="2498995"/>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1" i="0" u="none" strike="noStrike" kern="0" cap="none" spc="0" normalizeH="0" baseline="0" noProof="0" dirty="0">
                <a:ln>
                  <a:noFill/>
                </a:ln>
                <a:solidFill>
                  <a:srgbClr val="FFFFFF"/>
                </a:solidFill>
                <a:effectLst/>
                <a:uLnTx/>
                <a:uFillTx/>
                <a:latin typeface="微软雅黑" charset="0"/>
                <a:ea typeface="微软雅黑" charset="0"/>
                <a:cs typeface="+mn-cs"/>
              </a:rPr>
              <a:t>2</a:t>
            </a:r>
            <a:endParaRPr kumimoji="0" lang="en-US"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7" name="Rectangle 8"/>
          <p:cNvSpPr/>
          <p:nvPr/>
        </p:nvSpPr>
        <p:spPr>
          <a:xfrm>
            <a:off x="1668135" y="2379287"/>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安全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8" name="Rectangle 8"/>
          <p:cNvSpPr/>
          <p:nvPr/>
        </p:nvSpPr>
        <p:spPr>
          <a:xfrm>
            <a:off x="773326" y="3560464"/>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3</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9" name="Rectangle 8"/>
          <p:cNvSpPr/>
          <p:nvPr/>
        </p:nvSpPr>
        <p:spPr>
          <a:xfrm>
            <a:off x="1668135" y="3440756"/>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有效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0" name="Rectangle 8"/>
          <p:cNvSpPr/>
          <p:nvPr/>
        </p:nvSpPr>
        <p:spPr>
          <a:xfrm>
            <a:off x="773326" y="4597009"/>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4</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11" name="Rectangle 8"/>
          <p:cNvSpPr/>
          <p:nvPr/>
        </p:nvSpPr>
        <p:spPr>
          <a:xfrm>
            <a:off x="1668135" y="4477301"/>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创新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2" name="Rectangle 8"/>
          <p:cNvSpPr/>
          <p:nvPr/>
        </p:nvSpPr>
        <p:spPr>
          <a:xfrm>
            <a:off x="773326" y="5652604"/>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5</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13" name="Rectangle 8"/>
          <p:cNvSpPr/>
          <p:nvPr/>
        </p:nvSpPr>
        <p:spPr>
          <a:xfrm>
            <a:off x="1668135" y="5532896"/>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公平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7" name="矩形 16"/>
          <p:cNvSpPr/>
          <p:nvPr/>
        </p:nvSpPr>
        <p:spPr>
          <a:xfrm>
            <a:off x="3653910" y="2311307"/>
            <a:ext cx="7183173" cy="1009239"/>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临床</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安全性良好</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不良反应多为一过性、轻中度，不影响持续用药。</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单剂量</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包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无防腐剂</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长期使用更安全。</a:t>
            </a:r>
            <a:endPar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18" name="矩形 17"/>
          <p:cNvSpPr/>
          <p:nvPr/>
        </p:nvSpPr>
        <p:spPr>
          <a:xfrm>
            <a:off x="3653911" y="3388175"/>
            <a:ext cx="7183171" cy="978440"/>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中</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稳瞳</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维持术野清晰，</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保障手术顺利</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后抗炎，</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总有效率达80%</a:t>
            </a: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显著降低</a:t>
            </a: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炎症并发症风险</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19" name="矩形 18"/>
          <p:cNvSpPr/>
          <p:nvPr/>
        </p:nvSpPr>
        <p:spPr>
          <a:xfrm>
            <a:off x="3653910" y="4424719"/>
            <a:ext cx="7183172" cy="978443"/>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双适应症创新，</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覆盖</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中与术后</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全周期需求</a:t>
            </a:r>
            <a:r>
              <a:rPr lang="zh-CN" altLang="en-US" b="1" dirty="0">
                <a:solidFill>
                  <a:srgbClr val="302E5D"/>
                </a:solidFill>
                <a:latin typeface="微软雅黑" charset="0"/>
                <a:ea typeface="微软雅黑" charset="0"/>
              </a:rPr>
              <a:t>。</a:t>
            </a:r>
            <a:endParaRPr kumimoji="0" lang="en-US" altLang="zh-CN" sz="1600" b="1"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剂型创新，单剂量无防腐剂包装，提升安全性。</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路径创新，国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唯一实现围术期一站式稳瞳抗炎</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的滴眼液。</a:t>
            </a:r>
            <a:endPar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20" name="矩形 19"/>
          <p:cNvSpPr/>
          <p:nvPr/>
        </p:nvSpPr>
        <p:spPr>
          <a:xfrm>
            <a:off x="3653911" y="5480314"/>
            <a:ext cx="7183171" cy="978443"/>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为不建议使用类固醇的患者提供有效选择，</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填补</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围术期</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用药空白</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围术期全程双重获益，术中降本、术后控费，</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减少</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患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额外治疗负担。</a:t>
            </a:r>
            <a:endParaRPr kumimoji="0" lang="en-US" altLang="zh-CN" b="1"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lang="zh-CN" altLang="en-US" sz="1600" dirty="0">
                <a:solidFill>
                  <a:srgbClr val="302E5D"/>
                </a:solidFill>
                <a:latin typeface="微软雅黑" charset="0"/>
                <a:ea typeface="微软雅黑" charset="0"/>
              </a:rPr>
              <a:t>实现</a:t>
            </a:r>
            <a:r>
              <a:rPr lang="zh-CN" altLang="en-US" b="1" dirty="0">
                <a:solidFill>
                  <a:srgbClr val="302E5D"/>
                </a:solidFill>
                <a:latin typeface="微软雅黑" charset="0"/>
                <a:ea typeface="微软雅黑" charset="0"/>
              </a:rPr>
              <a:t>患者获益</a:t>
            </a:r>
            <a:r>
              <a:rPr lang="zh-CN" altLang="en-US" sz="1600" dirty="0">
                <a:solidFill>
                  <a:srgbClr val="302E5D"/>
                </a:solidFill>
                <a:latin typeface="微软雅黑" charset="0"/>
                <a:ea typeface="微软雅黑" charset="0"/>
              </a:rPr>
              <a:t>与</a:t>
            </a:r>
            <a:r>
              <a:rPr lang="zh-CN" altLang="en-US" b="1" dirty="0">
                <a:solidFill>
                  <a:srgbClr val="302E5D"/>
                </a:solidFill>
                <a:latin typeface="微软雅黑" charset="0"/>
                <a:ea typeface="微软雅黑" charset="0"/>
              </a:rPr>
              <a:t>医保基金使用效率</a:t>
            </a:r>
            <a:r>
              <a:rPr lang="zh-CN" altLang="en-US" sz="1600" dirty="0">
                <a:solidFill>
                  <a:srgbClr val="302E5D"/>
                </a:solidFill>
                <a:latin typeface="微软雅黑" charset="0"/>
                <a:ea typeface="微软雅黑" charset="0"/>
              </a:rPr>
              <a:t>的</a:t>
            </a:r>
            <a:r>
              <a:rPr lang="zh-CN" altLang="en-US" b="1" dirty="0">
                <a:solidFill>
                  <a:srgbClr val="302E5D"/>
                </a:solidFill>
                <a:latin typeface="微软雅黑" charset="0"/>
                <a:ea typeface="微软雅黑" charset="0"/>
              </a:rPr>
              <a:t>双重优化。</a:t>
            </a:r>
            <a:endPar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22" name="矩形 21"/>
          <p:cNvSpPr/>
          <p:nvPr/>
        </p:nvSpPr>
        <p:spPr>
          <a:xfrm>
            <a:off x="3653909" y="1265238"/>
            <a:ext cx="7183174" cy="978440"/>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国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首个获批</a:t>
            </a: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抑制术中缩瞳+术后抗炎”双适应症滴眼液。</a:t>
            </a:r>
            <a:endParaRPr kumimoji="0" lang="en-US" altLang="zh-CN" sz="1600" b="0" i="0" u="none" strike="noStrike" kern="1200" cap="none" spc="0" normalizeH="0" baseline="0" noProof="0" dirty="0">
              <a:ln>
                <a:noFill/>
              </a:ln>
              <a:solidFill>
                <a:srgbClr val="2B3A42"/>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用于控制术后炎症，及抑制术中瞳孔缩小，</a:t>
            </a:r>
            <a:r>
              <a:rPr kumimoji="0" lang="zh-CN" altLang="en-US" b="1" i="0" u="none" strike="noStrike" kern="1200" cap="none" spc="0" normalizeH="0" baseline="0" noProof="0" dirty="0">
                <a:ln>
                  <a:noFill/>
                </a:ln>
                <a:solidFill>
                  <a:srgbClr val="2B3A42"/>
                </a:solidFill>
                <a:effectLst/>
                <a:uLnTx/>
                <a:uFillTx/>
                <a:latin typeface="微软雅黑" charset="0"/>
                <a:ea typeface="微软雅黑" charset="0"/>
                <a:cs typeface="+mn-cs"/>
              </a:rPr>
              <a:t>实现围手术期一站式管理</a:t>
            </a: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填补临床空白。</a:t>
            </a:r>
            <a:endPar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charset="0"/>
                <a:ea typeface="微软雅黑" charset="0"/>
              </a:rPr>
              <a:t>目录</a:t>
            </a:r>
            <a:endParaRPr lang="zh-CN" altLang="en-US" dirty="0">
              <a:latin typeface="微软雅黑" charset="0"/>
              <a:ea typeface="微软雅黑" charset="0"/>
            </a:endParaRPr>
          </a:p>
        </p:txBody>
      </p:sp>
      <p:sp>
        <p:nvSpPr>
          <p:cNvPr id="4" name="Rectangle 8"/>
          <p:cNvSpPr/>
          <p:nvPr/>
        </p:nvSpPr>
        <p:spPr>
          <a:xfrm>
            <a:off x="773326" y="1437527"/>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a:ln>
                  <a:noFill/>
                </a:ln>
                <a:solidFill>
                  <a:srgbClr val="FFFFFF"/>
                </a:solidFill>
                <a:effectLst/>
                <a:uLnTx/>
                <a:uFillTx/>
                <a:latin typeface="微软雅黑" charset="0"/>
                <a:ea typeface="微软雅黑" charset="0"/>
                <a:cs typeface="+mn-cs"/>
              </a:rPr>
              <a:t>1</a:t>
            </a:r>
            <a:endParaRPr kumimoji="0" lang="en-US" altLang="zh-CN" sz="1800" b="1" i="0" u="none" strike="noStrike" kern="0" cap="none" spc="0" normalizeH="0" baseline="0" noProof="0">
              <a:ln>
                <a:noFill/>
              </a:ln>
              <a:solidFill>
                <a:srgbClr val="FFFFFF"/>
              </a:solidFill>
              <a:effectLst/>
              <a:uLnTx/>
              <a:uFillTx/>
              <a:latin typeface="微软雅黑" charset="0"/>
              <a:ea typeface="微软雅黑" charset="0"/>
              <a:cs typeface="+mn-cs"/>
            </a:endParaRPr>
          </a:p>
        </p:txBody>
      </p:sp>
      <p:sp>
        <p:nvSpPr>
          <p:cNvPr id="5" name="Rectangle 8"/>
          <p:cNvSpPr/>
          <p:nvPr/>
        </p:nvSpPr>
        <p:spPr>
          <a:xfrm>
            <a:off x="1668135" y="1317819"/>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药品基本信息</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6" name="Rectangle 8"/>
          <p:cNvSpPr/>
          <p:nvPr/>
        </p:nvSpPr>
        <p:spPr>
          <a:xfrm>
            <a:off x="773326" y="2498995"/>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1" i="0" u="none" strike="noStrike" kern="0" cap="none" spc="0" normalizeH="0" baseline="0" noProof="0" dirty="0">
                <a:ln>
                  <a:noFill/>
                </a:ln>
                <a:solidFill>
                  <a:srgbClr val="FFFFFF"/>
                </a:solidFill>
                <a:effectLst/>
                <a:uLnTx/>
                <a:uFillTx/>
                <a:latin typeface="微软雅黑" charset="0"/>
                <a:ea typeface="微软雅黑" charset="0"/>
                <a:cs typeface="+mn-cs"/>
              </a:rPr>
              <a:t>2</a:t>
            </a:r>
            <a:endParaRPr kumimoji="0" lang="en-US"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7" name="Rectangle 8"/>
          <p:cNvSpPr/>
          <p:nvPr/>
        </p:nvSpPr>
        <p:spPr>
          <a:xfrm>
            <a:off x="1668135" y="2379287"/>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安全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8" name="Rectangle 8"/>
          <p:cNvSpPr/>
          <p:nvPr/>
        </p:nvSpPr>
        <p:spPr>
          <a:xfrm>
            <a:off x="773326" y="3560464"/>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3</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9" name="Rectangle 8"/>
          <p:cNvSpPr/>
          <p:nvPr/>
        </p:nvSpPr>
        <p:spPr>
          <a:xfrm>
            <a:off x="1668135" y="3440756"/>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有效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0" name="Rectangle 8"/>
          <p:cNvSpPr/>
          <p:nvPr/>
        </p:nvSpPr>
        <p:spPr>
          <a:xfrm>
            <a:off x="773326" y="4597009"/>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4</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11" name="Rectangle 8"/>
          <p:cNvSpPr/>
          <p:nvPr/>
        </p:nvSpPr>
        <p:spPr>
          <a:xfrm>
            <a:off x="1668135" y="4477301"/>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创新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2" name="Rectangle 8"/>
          <p:cNvSpPr/>
          <p:nvPr/>
        </p:nvSpPr>
        <p:spPr>
          <a:xfrm>
            <a:off x="773326" y="5652604"/>
            <a:ext cx="680983" cy="633862"/>
          </a:xfrm>
          <a:prstGeom prst="rect">
            <a:avLst/>
          </a:prstGeom>
          <a:solidFill>
            <a:srgbClr val="302E5D"/>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rPr>
              <a:t>5</a:t>
            </a:r>
            <a:endParaRPr kumimoji="0" lang="en-US" altLang="zh-CN" sz="18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13" name="Rectangle 8"/>
          <p:cNvSpPr/>
          <p:nvPr/>
        </p:nvSpPr>
        <p:spPr>
          <a:xfrm>
            <a:off x="1668135" y="5532896"/>
            <a:ext cx="1773195" cy="873278"/>
          </a:xfrm>
          <a:prstGeom prst="rect">
            <a:avLst/>
          </a:prstGeom>
          <a:solidFill>
            <a:srgbClr val="766C91"/>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rPr>
              <a:t>公平性</a:t>
            </a:r>
            <a:endParaRPr kumimoji="1" lang="zh-CN" altLang="en-US" sz="1800" b="1" i="0" u="none" strike="noStrike" kern="1200" cap="none" spc="0" normalizeH="0" baseline="0" noProof="0" dirty="0">
              <a:ln>
                <a:noFill/>
              </a:ln>
              <a:solidFill>
                <a:srgbClr val="FFFFFF"/>
              </a:solidFill>
              <a:effectLst/>
              <a:uLnTx/>
              <a:uFillTx/>
              <a:latin typeface="微软雅黑" charset="0"/>
              <a:ea typeface="微软雅黑" charset="0"/>
              <a:cs typeface="+mn-cs"/>
            </a:endParaRPr>
          </a:p>
        </p:txBody>
      </p:sp>
      <p:sp>
        <p:nvSpPr>
          <p:cNvPr id="17" name="矩形 16"/>
          <p:cNvSpPr/>
          <p:nvPr/>
        </p:nvSpPr>
        <p:spPr>
          <a:xfrm>
            <a:off x="3653910" y="2311307"/>
            <a:ext cx="7183173" cy="1009239"/>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临床</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安全性良好</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不良反应多为一过性、轻中度，不影响持续用药。</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单剂量</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包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无防腐剂</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长期使用更安全。</a:t>
            </a:r>
            <a:endPar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18" name="矩形 17"/>
          <p:cNvSpPr/>
          <p:nvPr/>
        </p:nvSpPr>
        <p:spPr>
          <a:xfrm>
            <a:off x="3653911" y="3388175"/>
            <a:ext cx="7183171" cy="978440"/>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中</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稳瞳</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维持术野清晰，</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保障手术顺利</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后抗炎，</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总有效率达80%</a:t>
            </a: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显著降低</a:t>
            </a: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炎症并发症风险</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19" name="矩形 18"/>
          <p:cNvSpPr/>
          <p:nvPr/>
        </p:nvSpPr>
        <p:spPr>
          <a:xfrm>
            <a:off x="3653910" y="4424719"/>
            <a:ext cx="7183172" cy="978443"/>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双适应症创新，</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覆盖</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术中与术后</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全周期需求</a:t>
            </a:r>
            <a:r>
              <a:rPr lang="zh-CN" altLang="en-US" b="1" dirty="0">
                <a:solidFill>
                  <a:srgbClr val="302E5D"/>
                </a:solidFill>
                <a:latin typeface="微软雅黑" charset="0"/>
                <a:ea typeface="微软雅黑" charset="0"/>
              </a:rPr>
              <a:t>。</a:t>
            </a:r>
            <a:endParaRPr kumimoji="0" lang="en-US" altLang="zh-CN" sz="1600" b="1"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剂型创新，单剂量无防腐剂包装，提升安全性。</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路径创新，国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唯一实现围术期一站式稳瞳抗炎</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的滴眼液。</a:t>
            </a:r>
            <a:endPar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20" name="矩形 19"/>
          <p:cNvSpPr/>
          <p:nvPr/>
        </p:nvSpPr>
        <p:spPr>
          <a:xfrm>
            <a:off x="3653911" y="5480314"/>
            <a:ext cx="7183171" cy="978443"/>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i="0" u="none" strike="noStrike" kern="1200" cap="none" spc="0" normalizeH="0" baseline="0" noProof="0" dirty="0">
                <a:ln>
                  <a:noFill/>
                </a:ln>
                <a:solidFill>
                  <a:srgbClr val="302E5D"/>
                </a:solidFill>
                <a:effectLst/>
                <a:uLnTx/>
                <a:uFillTx/>
                <a:latin typeface="微软雅黑" charset="0"/>
                <a:ea typeface="微软雅黑" charset="0"/>
                <a:cs typeface="+mn-cs"/>
              </a:rPr>
              <a:t>为不建议使用类固醇的患者提供有效选择，</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填补</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围术期</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用药空白</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a:t>
            </a:r>
            <a:endParaRPr kumimoji="0" lang="en-US" altLang="zh-CN" sz="1600" b="0"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围术期全程双重获益，术中降本、术后控费，</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减少</a:t>
            </a:r>
            <a:r>
              <a:rPr kumimoji="0" lang="zh-CN" altLang="en-US" sz="1600" b="0" i="0" u="none" strike="noStrike" kern="1200" cap="none" spc="0" normalizeH="0" baseline="0" noProof="0" dirty="0">
                <a:ln>
                  <a:noFill/>
                </a:ln>
                <a:solidFill>
                  <a:srgbClr val="302E5D"/>
                </a:solidFill>
                <a:effectLst/>
                <a:uLnTx/>
                <a:uFillTx/>
                <a:latin typeface="微软雅黑" charset="0"/>
                <a:ea typeface="微软雅黑" charset="0"/>
                <a:cs typeface="+mn-cs"/>
              </a:rPr>
              <a:t>患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额外治疗负担。</a:t>
            </a:r>
            <a:endParaRPr kumimoji="0" lang="en-US" altLang="zh-CN" b="1" i="0" u="none" strike="noStrike" kern="1200" cap="none" spc="0" normalizeH="0" baseline="0" noProof="0" dirty="0">
              <a:ln>
                <a:noFill/>
              </a:ln>
              <a:solidFill>
                <a:srgbClr val="302E5D"/>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lang="zh-CN" altLang="en-US" sz="1600" dirty="0">
                <a:solidFill>
                  <a:srgbClr val="302E5D"/>
                </a:solidFill>
                <a:latin typeface="微软雅黑" charset="0"/>
                <a:ea typeface="微软雅黑" charset="0"/>
              </a:rPr>
              <a:t>实现</a:t>
            </a:r>
            <a:r>
              <a:rPr lang="zh-CN" altLang="en-US" b="1" dirty="0">
                <a:solidFill>
                  <a:srgbClr val="302E5D"/>
                </a:solidFill>
                <a:latin typeface="微软雅黑" charset="0"/>
                <a:ea typeface="微软雅黑" charset="0"/>
              </a:rPr>
              <a:t>患者获益</a:t>
            </a:r>
            <a:r>
              <a:rPr lang="zh-CN" altLang="en-US" sz="1600" dirty="0">
                <a:solidFill>
                  <a:srgbClr val="302E5D"/>
                </a:solidFill>
                <a:latin typeface="微软雅黑" charset="0"/>
                <a:ea typeface="微软雅黑" charset="0"/>
              </a:rPr>
              <a:t>与</a:t>
            </a:r>
            <a:r>
              <a:rPr lang="zh-CN" altLang="en-US" b="1" dirty="0">
                <a:solidFill>
                  <a:srgbClr val="302E5D"/>
                </a:solidFill>
                <a:latin typeface="微软雅黑" charset="0"/>
                <a:ea typeface="微软雅黑" charset="0"/>
              </a:rPr>
              <a:t>医保基金使用效率</a:t>
            </a:r>
            <a:r>
              <a:rPr lang="zh-CN" altLang="en-US" sz="1600" dirty="0">
                <a:solidFill>
                  <a:srgbClr val="302E5D"/>
                </a:solidFill>
                <a:latin typeface="微软雅黑" charset="0"/>
                <a:ea typeface="微软雅黑" charset="0"/>
              </a:rPr>
              <a:t>的</a:t>
            </a:r>
            <a:r>
              <a:rPr lang="zh-CN" altLang="en-US" b="1" dirty="0">
                <a:solidFill>
                  <a:srgbClr val="302E5D"/>
                </a:solidFill>
                <a:latin typeface="微软雅黑" charset="0"/>
                <a:ea typeface="微软雅黑" charset="0"/>
              </a:rPr>
              <a:t>双重优化。</a:t>
            </a:r>
            <a:endPar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mn-cs"/>
            </a:endParaRPr>
          </a:p>
        </p:txBody>
      </p:sp>
      <p:sp>
        <p:nvSpPr>
          <p:cNvPr id="22" name="矩形 21"/>
          <p:cNvSpPr/>
          <p:nvPr/>
        </p:nvSpPr>
        <p:spPr>
          <a:xfrm>
            <a:off x="3653909" y="1265238"/>
            <a:ext cx="7183174" cy="978440"/>
          </a:xfrm>
          <a:prstGeom prst="rect">
            <a:avLst/>
          </a:prstGeom>
          <a:solidFill>
            <a:schemeClr val="bg1"/>
          </a:solidFill>
          <a:ln>
            <a:solidFill>
              <a:srgbClr val="302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国内</a:t>
            </a:r>
            <a:r>
              <a:rPr kumimoji="0" lang="zh-CN" altLang="en-US" b="1" i="0" u="none" strike="noStrike" kern="1200" cap="none" spc="0" normalizeH="0" baseline="0" noProof="0" dirty="0">
                <a:ln>
                  <a:noFill/>
                </a:ln>
                <a:solidFill>
                  <a:srgbClr val="302E5D"/>
                </a:solidFill>
                <a:effectLst/>
                <a:uLnTx/>
                <a:uFillTx/>
                <a:latin typeface="微软雅黑" charset="0"/>
                <a:ea typeface="微软雅黑" charset="0"/>
                <a:cs typeface="+mn-cs"/>
              </a:rPr>
              <a:t>首个获批</a:t>
            </a: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抑制术中缩瞳+术后抗炎”双适应症滴眼液。</a:t>
            </a:r>
            <a:endParaRPr kumimoji="0" lang="en-US" altLang="zh-CN" sz="1600" b="0" i="0" u="none" strike="noStrike" kern="1200" cap="none" spc="0" normalizeH="0" baseline="0" noProof="0" dirty="0">
              <a:ln>
                <a:noFill/>
              </a:ln>
              <a:solidFill>
                <a:srgbClr val="2B3A42"/>
              </a:solidFill>
              <a:effectLst/>
              <a:uLnTx/>
              <a:uFillTx/>
              <a:latin typeface="微软雅黑" charset="0"/>
              <a:ea typeface="微软雅黑" charset="0"/>
              <a:cs typeface="+mn-cs"/>
            </a:endParaRPr>
          </a:p>
          <a:p>
            <a:pPr marL="285750" marR="0" lvl="0" indent="-285750" algn="just" defTabSz="914400" rtl="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用于控制术后炎症，及抑制术中瞳孔缩小，</a:t>
            </a:r>
            <a:r>
              <a:rPr kumimoji="0" lang="zh-CN" altLang="en-US" b="1" i="0" u="none" strike="noStrike" kern="1200" cap="none" spc="0" normalizeH="0" baseline="0" noProof="0" dirty="0">
                <a:ln>
                  <a:noFill/>
                </a:ln>
                <a:solidFill>
                  <a:srgbClr val="2B3A42"/>
                </a:solidFill>
                <a:effectLst/>
                <a:uLnTx/>
                <a:uFillTx/>
                <a:latin typeface="微软雅黑" charset="0"/>
                <a:ea typeface="微软雅黑" charset="0"/>
                <a:cs typeface="+mn-cs"/>
              </a:rPr>
              <a:t>实现围手术期一站式管理</a:t>
            </a:r>
            <a:r>
              <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rPr>
              <a:t>，填补临床空白。</a:t>
            </a:r>
            <a:endParaRPr kumimoji="0" lang="zh-CN" altLang="en-US" sz="1600" b="0" i="0" u="none" strike="noStrike" kern="1200" cap="none" spc="0" normalizeH="0" baseline="0" noProof="0" dirty="0">
              <a:ln>
                <a:noFill/>
              </a:ln>
              <a:solidFill>
                <a:srgbClr val="2B3A42"/>
              </a:solidFill>
              <a:effectLst/>
              <a:uLnTx/>
              <a:uFillTx/>
              <a:latin typeface="微软雅黑" charset="0"/>
              <a:ea typeface="微软雅黑" charset="0"/>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376555" y="259715"/>
            <a:ext cx="11338560" cy="556260"/>
          </a:xfrm>
        </p:spPr>
        <p:txBody>
          <a:bodyPr vert="horz"/>
          <a:lstStyle/>
          <a:p>
            <a:pPr marL="0" indent="0" fontAlgn="auto">
              <a:lnSpc>
                <a:spcPct val="100000"/>
              </a:lnSpc>
            </a:pPr>
            <a:r>
              <a:rPr lang="zh-CN" altLang="en-US" sz="2200" dirty="0">
                <a:latin typeface="微软雅黑" charset="0"/>
                <a:ea typeface="微软雅黑" charset="0"/>
                <a:cs typeface="微软雅黑" charset="0"/>
              </a:rPr>
              <a:t>氟比洛芬钠滴眼液是我国首个“抑制术中缩瞳+术后抗炎”双适应症滴眼液</a:t>
            </a:r>
            <a:endParaRPr lang="zh-CN" altLang="en-US" sz="2200" dirty="0">
              <a:latin typeface="微软雅黑" charset="0"/>
              <a:ea typeface="微软雅黑" charset="0"/>
              <a:cs typeface="微软雅黑" charset="0"/>
            </a:endParaRPr>
          </a:p>
        </p:txBody>
      </p:sp>
      <p:graphicFrame>
        <p:nvGraphicFramePr>
          <p:cNvPr id="30" name="Table 18"/>
          <p:cNvGraphicFramePr>
            <a:graphicFrameLocks noGrp="1"/>
          </p:cNvGraphicFramePr>
          <p:nvPr/>
        </p:nvGraphicFramePr>
        <p:xfrm>
          <a:off x="680084" y="1540510"/>
          <a:ext cx="5016255" cy="4846320"/>
        </p:xfrm>
        <a:graphic>
          <a:graphicData uri="http://schemas.openxmlformats.org/drawingml/2006/table">
            <a:tbl>
              <a:tblPr firstRow="1" bandRow="1">
                <a:tableStyleId>{5C22544A-7EE6-4342-B048-85BDC9FD1C3A}</a:tableStyleId>
              </a:tblPr>
              <a:tblGrid>
                <a:gridCol w="1859336"/>
                <a:gridCol w="3156919"/>
              </a:tblGrid>
              <a:tr h="457200">
                <a:tc>
                  <a:txBody>
                    <a:bodyPr/>
                    <a:lstStyle/>
                    <a:p>
                      <a:r>
                        <a:rPr lang="zh-CN" altLang="en-US" sz="1200" b="1" kern="1200" dirty="0">
                          <a:solidFill>
                            <a:schemeClr val="tx1"/>
                          </a:solidFill>
                          <a:latin typeface="微软雅黑" charset="0"/>
                          <a:ea typeface="微软雅黑" charset="0"/>
                          <a:cs typeface="微软雅黑" panose="020B0503020204020204" pitchFamily="34" charset="-122"/>
                        </a:rPr>
                        <a:t>药品通用名称</a:t>
                      </a:r>
                      <a:endParaRPr lang="zh-CN" altLang="en-US" sz="1200" b="1" kern="1200" dirty="0">
                        <a:solidFill>
                          <a:schemeClr val="tx1"/>
                        </a:solidFill>
                        <a:latin typeface="微软雅黑" charset="0"/>
                        <a:ea typeface="微软雅黑" charset="0"/>
                        <a:cs typeface="微软雅黑" panose="020B0503020204020204" pitchFamily="34" charset="-122"/>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dirty="0">
                          <a:solidFill>
                            <a:schemeClr val="tx1"/>
                          </a:solidFill>
                          <a:latin typeface="微软雅黑" charset="0"/>
                          <a:ea typeface="微软雅黑" charset="0"/>
                          <a:cs typeface="微软雅黑" charset="0"/>
                        </a:rPr>
                        <a:t>通用名：氟比洛芬钠滴眼液</a:t>
                      </a:r>
                      <a:endParaRPr lang="zh-CN" altLang="en-US" sz="1200" b="0" dirty="0">
                        <a:solidFill>
                          <a:schemeClr val="tx1"/>
                        </a:solidFill>
                        <a:latin typeface="微软雅黑" charset="0"/>
                        <a:ea typeface="微软雅黑" charset="0"/>
                        <a:cs typeface="微软雅黑" charset="0"/>
                      </a:endParaRPr>
                    </a:p>
                    <a:p>
                      <a:r>
                        <a:rPr lang="zh-CN" altLang="en-US" sz="1200" b="0" dirty="0">
                          <a:solidFill>
                            <a:schemeClr val="tx1"/>
                          </a:solidFill>
                          <a:latin typeface="微软雅黑" charset="0"/>
                          <a:ea typeface="微软雅黑" charset="0"/>
                          <a:cs typeface="微软雅黑" charset="0"/>
                        </a:rPr>
                        <a:t>商品名：先洛比</a:t>
                      </a:r>
                      <a:r>
                        <a:rPr lang="zh-CN" altLang="en-US" sz="1200" b="0" baseline="30000" dirty="0">
                          <a:solidFill>
                            <a:schemeClr val="tx1"/>
                          </a:solidFill>
                          <a:latin typeface="微软雅黑" charset="0"/>
                          <a:ea typeface="微软雅黑" charset="0"/>
                          <a:cs typeface="微软雅黑" charset="0"/>
                        </a:rPr>
                        <a:t>®</a:t>
                      </a:r>
                      <a:endParaRPr lang="zh-CN" altLang="en-US" sz="1200" b="0" baseline="30000" dirty="0">
                        <a:solidFill>
                          <a:schemeClr val="tx1"/>
                        </a:solidFill>
                        <a:latin typeface="微软雅黑" charset="0"/>
                        <a:ea typeface="微软雅黑" charset="0"/>
                        <a:cs typeface="微软雅黑" charset="0"/>
                      </a:endParaRPr>
                    </a:p>
                  </a:txBody>
                  <a:tcPr anchor="ctr">
                    <a:lnB w="12700" cap="flat" cmpd="sng" algn="ctr">
                      <a:solidFill>
                        <a:schemeClr val="bg2">
                          <a:lumMod val="90000"/>
                        </a:schemeClr>
                      </a:solidFill>
                      <a:prstDash val="solid"/>
                      <a:round/>
                      <a:headEnd type="none" w="med" len="med"/>
                      <a:tailEnd type="none" w="med" len="med"/>
                    </a:lnB>
                    <a:solidFill>
                      <a:srgbClr val="E9E8F4"/>
                    </a:solidFill>
                  </a:tcPr>
                </a:tc>
              </a:tr>
              <a:tr h="274320">
                <a:tc>
                  <a:txBody>
                    <a:bodyPr/>
                    <a:lstStyle/>
                    <a:p>
                      <a:pPr marL="0" algn="l" defTabSz="914400" rtl="0" eaLnBrk="1" latinLnBrk="0" hangingPunct="1"/>
                      <a:r>
                        <a:rPr lang="zh-CN" altLang="en-US" sz="1200" b="1" kern="1200">
                          <a:solidFill>
                            <a:schemeClr val="tx1"/>
                          </a:solidFill>
                          <a:latin typeface="微软雅黑" charset="0"/>
                          <a:ea typeface="微软雅黑" charset="0"/>
                        </a:rPr>
                        <a:t>注册分类</a:t>
                      </a:r>
                      <a:endParaRPr lang="zh-CN" altLang="en-US" sz="1200" b="1" kern="120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a:solidFill>
                            <a:schemeClr val="tx1"/>
                          </a:solidFill>
                          <a:latin typeface="微软雅黑" charset="0"/>
                          <a:ea typeface="微软雅黑" charset="0"/>
                          <a:cs typeface="微软雅黑" charset="0"/>
                          <a:sym typeface="+mn-ea"/>
                        </a:rPr>
                        <a:t>化学药品 4类</a:t>
                      </a:r>
                      <a:endParaRPr lang="zh-CN" altLang="en-US" sz="1200" b="0" dirty="0">
                        <a:solidFill>
                          <a:schemeClr val="tx1"/>
                        </a:solidFill>
                        <a:latin typeface="微软雅黑" charset="0"/>
                        <a:ea typeface="微软雅黑" charset="0"/>
                        <a:cs typeface="微软雅黑" charset="0"/>
                        <a:sym typeface="+mn-ea"/>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274320">
                <a:tc>
                  <a:txBody>
                    <a:bodyPr/>
                    <a:lstStyle/>
                    <a:p>
                      <a:r>
                        <a:rPr lang="zh-CN" altLang="en-US" sz="1200" b="1" kern="1200" dirty="0">
                          <a:solidFill>
                            <a:schemeClr val="tx1"/>
                          </a:solidFill>
                          <a:latin typeface="微软雅黑" charset="0"/>
                          <a:ea typeface="微软雅黑" charset="0"/>
                          <a:cs typeface="微软雅黑" panose="020B0503020204020204" pitchFamily="34" charset="-122"/>
                          <a:sym typeface="+mn-ea"/>
                        </a:rPr>
                        <a:t>注册规格</a:t>
                      </a:r>
                      <a:endParaRPr lang="zh-CN" altLang="en-US" sz="1200" b="1" kern="1200" dirty="0">
                        <a:solidFill>
                          <a:schemeClr val="tx1"/>
                        </a:solidFill>
                        <a:latin typeface="微软雅黑" charset="0"/>
                        <a:ea typeface="微软雅黑" charset="0"/>
                        <a:cs typeface="微软雅黑" panose="020B0503020204020204" pitchFamily="34" charset="-122"/>
                        <a:sym typeface="+mn-ea"/>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a:solidFill>
                            <a:schemeClr val="tx1"/>
                          </a:solidFill>
                          <a:latin typeface="微软雅黑" charset="0"/>
                          <a:ea typeface="微软雅黑" charset="0"/>
                          <a:cs typeface="微软雅黑" panose="020B0503020204020204" pitchFamily="34" charset="-122"/>
                          <a:sym typeface="+mn-ea"/>
                        </a:rPr>
                        <a:t>0.03%（0.4ml：0.12mg）</a:t>
                      </a:r>
                      <a:endParaRPr lang="en-US" altLang="zh-CN" sz="1200" b="0" dirty="0">
                        <a:solidFill>
                          <a:schemeClr val="tx1"/>
                        </a:solidFill>
                        <a:latin typeface="微软雅黑" charset="0"/>
                        <a:ea typeface="微软雅黑" charset="0"/>
                        <a:cs typeface="微软雅黑" panose="020B0503020204020204" pitchFamily="34" charset="-122"/>
                        <a:sym typeface="+mn-ea"/>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1">
                          <a:solidFill>
                            <a:schemeClr val="tx1"/>
                          </a:solidFill>
                          <a:latin typeface="微软雅黑" charset="0"/>
                          <a:ea typeface="微软雅黑" charset="0"/>
                        </a:rPr>
                        <a:t>说明书适应症</a:t>
                      </a:r>
                      <a:endParaRPr lang="zh-CN" altLang="en-US" sz="1200" b="1">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dirty="0">
                          <a:solidFill>
                            <a:schemeClr val="tx1"/>
                          </a:solidFill>
                          <a:latin typeface="微软雅黑" charset="0"/>
                          <a:ea typeface="微软雅黑" charset="0"/>
                        </a:rPr>
                        <a:t>1、用于控制不建议使用类固醇患者的激光小梁成形术和其他术后的眼前段炎症。 </a:t>
                      </a:r>
                      <a:endParaRPr lang="zh-CN" altLang="en-US" sz="1200" b="0" dirty="0">
                        <a:solidFill>
                          <a:schemeClr val="tx1"/>
                        </a:solidFill>
                        <a:latin typeface="微软雅黑" charset="0"/>
                        <a:ea typeface="微软雅黑" charset="0"/>
                      </a:endParaRPr>
                    </a:p>
                    <a:p>
                      <a:r>
                        <a:rPr lang="zh-CN" altLang="en-US" sz="1200" b="0" dirty="0">
                          <a:solidFill>
                            <a:schemeClr val="tx1"/>
                          </a:solidFill>
                          <a:latin typeface="微软雅黑" charset="0"/>
                          <a:ea typeface="微软雅黑" charset="0"/>
                        </a:rPr>
                        <a:t>2、用于抑制术中瞳孔缩小。本品不能替代散瞳药物。</a:t>
                      </a:r>
                      <a:endParaRPr lang="zh-CN" altLang="en-US" sz="1200" b="0" dirty="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1554480">
                <a:tc>
                  <a:txBody>
                    <a:bodyPr/>
                    <a:lstStyle/>
                    <a:p>
                      <a:r>
                        <a:rPr lang="zh-CN" altLang="en-US" sz="1200" b="1" dirty="0">
                          <a:solidFill>
                            <a:schemeClr val="tx1"/>
                          </a:solidFill>
                          <a:latin typeface="微软雅黑" charset="0"/>
                          <a:ea typeface="微软雅黑" charset="0"/>
                        </a:rPr>
                        <a:t>用法用量</a:t>
                      </a:r>
                      <a:endParaRPr lang="zh-CN" altLang="en-US" sz="1200" b="1" dirty="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nSpc>
                          <a:spcPct val="100000"/>
                        </a:lnSpc>
                      </a:pPr>
                      <a:r>
                        <a:rPr lang="zh-CN" altLang="en-US" sz="1200" dirty="0">
                          <a:latin typeface="微软雅黑" charset="0"/>
                          <a:ea typeface="微软雅黑" charset="0"/>
                          <a:cs typeface="微软雅黑" panose="020B0503020204020204" pitchFamily="34" charset="-122"/>
                          <a:sym typeface="+mn-ea"/>
                        </a:rPr>
                        <a:t>1、用于抑制术中瞳孔缩小时，术前 2 小时开始每半小时滴 1 滴，最后 1 滴在手术前至少30分钟给药。 </a:t>
                      </a:r>
                      <a:endParaRPr lang="zh-CN" altLang="en-US" sz="1200" dirty="0">
                        <a:latin typeface="微软雅黑" charset="0"/>
                        <a:ea typeface="微软雅黑" charset="0"/>
                        <a:cs typeface="微软雅黑" panose="020B0503020204020204" pitchFamily="34" charset="-122"/>
                        <a:sym typeface="+mn-ea"/>
                      </a:endParaRPr>
                    </a:p>
                    <a:p>
                      <a:pPr>
                        <a:lnSpc>
                          <a:spcPct val="100000"/>
                        </a:lnSpc>
                      </a:pPr>
                      <a:r>
                        <a:rPr lang="zh-CN" altLang="en-US" sz="1200" dirty="0">
                          <a:latin typeface="微软雅黑" charset="0"/>
                          <a:ea typeface="微软雅黑" charset="0"/>
                          <a:cs typeface="微软雅黑" panose="020B0503020204020204" pitchFamily="34" charset="-122"/>
                          <a:sym typeface="+mn-ea"/>
                        </a:rPr>
                        <a:t>2、用于控制术后和激光小梁成形术后的炎症时应遵循上述给药方案。术后24小时开始，每天4次，每次滴1滴，在激光小梁成形术后持续1周，在其他手术后持续2-3周。</a:t>
                      </a:r>
                      <a:endParaRPr lang="zh-CN" altLang="en-US" sz="1200" dirty="0">
                        <a:latin typeface="微软雅黑" charset="0"/>
                        <a:ea typeface="微软雅黑" charset="0"/>
                        <a:cs typeface="微软雅黑" panose="020B0503020204020204" pitchFamily="34" charset="-122"/>
                        <a:sym typeface="+mn-ea"/>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262890">
                <a:tc>
                  <a:txBody>
                    <a:bodyPr/>
                    <a:lstStyle/>
                    <a:p>
                      <a:r>
                        <a:rPr lang="zh-CN" altLang="en-US" sz="1200" b="1" dirty="0">
                          <a:solidFill>
                            <a:schemeClr val="tx1"/>
                          </a:solidFill>
                          <a:latin typeface="微软雅黑" charset="0"/>
                          <a:ea typeface="微软雅黑" charset="0"/>
                          <a:cs typeface="微软雅黑" panose="020B0503020204020204" pitchFamily="34" charset="-122"/>
                        </a:rPr>
                        <a:t>中国大陆首次上市时间</a:t>
                      </a:r>
                      <a:endParaRPr lang="zh-CN" altLang="en-US" sz="1200" b="1" dirty="0">
                        <a:solidFill>
                          <a:schemeClr val="tx1"/>
                        </a:solidFill>
                        <a:latin typeface="微软雅黑" charset="0"/>
                        <a:ea typeface="微软雅黑" charset="0"/>
                        <a:cs typeface="微软雅黑" panose="020B0503020204020204" pitchFamily="34"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a:solidFill>
                            <a:schemeClr val="tx1"/>
                          </a:solidFill>
                          <a:latin typeface="微软雅黑" charset="0"/>
                          <a:ea typeface="微软雅黑" charset="0"/>
                          <a:cs typeface="微软雅黑" panose="020B0503020204020204" pitchFamily="34" charset="-122"/>
                        </a:rPr>
                        <a:t>2025.12.30</a:t>
                      </a:r>
                      <a:endParaRPr lang="en-US" altLang="zh-CN" sz="1200" b="0" dirty="0">
                        <a:solidFill>
                          <a:schemeClr val="tx1"/>
                        </a:solidFill>
                        <a:latin typeface="微软雅黑" charset="0"/>
                        <a:ea typeface="微软雅黑" charset="0"/>
                        <a:cs typeface="微软雅黑" panose="020B0503020204020204" pitchFamily="34"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457200">
                <a:tc>
                  <a:txBody>
                    <a:bodyPr/>
                    <a:lstStyle/>
                    <a:p>
                      <a:r>
                        <a:rPr lang="zh-CN" altLang="en-US" sz="1200" b="1" dirty="0">
                          <a:solidFill>
                            <a:schemeClr val="tx1"/>
                          </a:solidFill>
                          <a:latin typeface="微软雅黑" charset="0"/>
                          <a:ea typeface="微软雅黑" charset="0"/>
                          <a:cs typeface="微软雅黑" panose="020B0503020204020204" pitchFamily="34" charset="-122"/>
                        </a:rPr>
                        <a:t>目前大陆地区同通用名药品的上市情况</a:t>
                      </a:r>
                      <a:endParaRPr lang="zh-CN" altLang="en-US" sz="1200" b="1" dirty="0">
                        <a:solidFill>
                          <a:schemeClr val="tx1"/>
                        </a:solidFill>
                        <a:latin typeface="微软雅黑" charset="0"/>
                        <a:ea typeface="微软雅黑" charset="0"/>
                        <a:cs typeface="微软雅黑" panose="020B0503020204020204" pitchFamily="34"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dirty="0">
                          <a:solidFill>
                            <a:schemeClr val="tx1"/>
                          </a:solidFill>
                          <a:latin typeface="微软雅黑" charset="0"/>
                          <a:ea typeface="微软雅黑" charset="0"/>
                        </a:rPr>
                        <a:t>已上市2家</a:t>
                      </a:r>
                      <a:endParaRPr lang="zh-CN" altLang="en-US" sz="1200" b="0" dirty="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457200">
                <a:tc>
                  <a:txBody>
                    <a:bodyPr/>
                    <a:lstStyle/>
                    <a:p>
                      <a:r>
                        <a:rPr lang="zh-CN" altLang="en-US" sz="1200" b="1" dirty="0">
                          <a:solidFill>
                            <a:schemeClr val="tx1"/>
                          </a:solidFill>
                          <a:latin typeface="微软雅黑" charset="0"/>
                          <a:ea typeface="微软雅黑" charset="0"/>
                          <a:cs typeface="微软雅黑" panose="020B0503020204020204" pitchFamily="34" charset="-122"/>
                        </a:rPr>
                        <a:t>全球首个上市国家及上市时间</a:t>
                      </a:r>
                      <a:endParaRPr lang="zh-CN" altLang="en-US" sz="1200" b="1" dirty="0">
                        <a:solidFill>
                          <a:schemeClr val="tx1"/>
                        </a:solidFill>
                        <a:latin typeface="微软雅黑" charset="0"/>
                        <a:ea typeface="微软雅黑" charset="0"/>
                        <a:cs typeface="微软雅黑" panose="020B0503020204020204" pitchFamily="34"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sz="1200" b="0" dirty="0">
                          <a:solidFill>
                            <a:schemeClr val="tx1"/>
                          </a:solidFill>
                          <a:latin typeface="微软雅黑" charset="0"/>
                          <a:ea typeface="微软雅黑" charset="0"/>
                        </a:rPr>
                        <a:t>1986</a:t>
                      </a:r>
                      <a:r>
                        <a:rPr lang="zh-CN" altLang="en-US" sz="1200" b="0" dirty="0">
                          <a:solidFill>
                            <a:schemeClr val="tx1"/>
                          </a:solidFill>
                          <a:latin typeface="微软雅黑" charset="0"/>
                          <a:ea typeface="微软雅黑" charset="0"/>
                        </a:rPr>
                        <a:t>年</a:t>
                      </a:r>
                      <a:r>
                        <a:rPr lang="en-US" altLang="zh-CN" sz="1200" b="0" dirty="0">
                          <a:solidFill>
                            <a:schemeClr val="tx1"/>
                          </a:solidFill>
                          <a:latin typeface="微软雅黑" charset="0"/>
                          <a:ea typeface="微软雅黑" charset="0"/>
                        </a:rPr>
                        <a:t> </a:t>
                      </a:r>
                      <a:r>
                        <a:rPr lang="zh-CN" altLang="en-US" sz="1200" b="0" dirty="0">
                          <a:solidFill>
                            <a:schemeClr val="tx1"/>
                          </a:solidFill>
                          <a:latin typeface="微软雅黑" charset="0"/>
                          <a:ea typeface="微软雅黑" charset="0"/>
                        </a:rPr>
                        <a:t>美国</a:t>
                      </a:r>
                      <a:endParaRPr lang="zh-CN" altLang="en-US" sz="1200" b="0" dirty="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tr>
              <a:tr h="274320">
                <a:tc>
                  <a:txBody>
                    <a:bodyPr/>
                    <a:lstStyle/>
                    <a:p>
                      <a:r>
                        <a:rPr lang="zh-CN" altLang="en-US" sz="1200" b="1" dirty="0">
                          <a:solidFill>
                            <a:schemeClr val="tx1"/>
                          </a:solidFill>
                          <a:latin typeface="微软雅黑" charset="0"/>
                          <a:ea typeface="微软雅黑" charset="0"/>
                          <a:cs typeface="微软雅黑" charset="0"/>
                        </a:rPr>
                        <a:t>是否为 OTC 药品</a:t>
                      </a:r>
                      <a:endParaRPr lang="zh-CN" altLang="en-US" sz="1200" b="1" dirty="0">
                        <a:solidFill>
                          <a:schemeClr val="tx1"/>
                        </a:solidFill>
                        <a:latin typeface="微软雅黑" charset="0"/>
                        <a:ea typeface="微软雅黑" charset="0"/>
                        <a:cs typeface="微软雅黑" charset="0"/>
                      </a:endParaRPr>
                    </a:p>
                  </a:txBody>
                  <a:tcPr anchor="ctr">
                    <a:lnT w="12700" cap="flat" cmpd="sng" algn="ctr">
                      <a:solidFill>
                        <a:schemeClr val="bg2">
                          <a:lumMod val="90000"/>
                        </a:schemeClr>
                      </a:solidFill>
                      <a:prstDash val="solid"/>
                      <a:round/>
                      <a:headEnd type="none" w="med" len="med"/>
                      <a:tailEnd type="none" w="med" len="med"/>
                    </a:lnT>
                    <a:noFill/>
                  </a:tcPr>
                </a:tc>
                <a:tc>
                  <a:txBody>
                    <a:bodyPr/>
                    <a:lstStyle/>
                    <a:p>
                      <a:r>
                        <a:rPr lang="zh-CN" altLang="en-US" sz="1200" b="0" dirty="0">
                          <a:solidFill>
                            <a:schemeClr val="tx1"/>
                          </a:solidFill>
                          <a:latin typeface="微软雅黑" charset="0"/>
                          <a:ea typeface="微软雅黑" charset="0"/>
                        </a:rPr>
                        <a:t>否</a:t>
                      </a:r>
                      <a:endParaRPr lang="zh-CN" altLang="en-US" sz="1200" b="0" dirty="0">
                        <a:solidFill>
                          <a:schemeClr val="tx1"/>
                        </a:solidFill>
                        <a:latin typeface="微软雅黑" charset="0"/>
                        <a:ea typeface="微软雅黑" charset="0"/>
                      </a:endParaRPr>
                    </a:p>
                  </a:txBody>
                  <a:tcPr anchor="ctr">
                    <a:lnT w="12700" cap="flat" cmpd="sng" algn="ctr">
                      <a:solidFill>
                        <a:schemeClr val="bg2">
                          <a:lumMod val="90000"/>
                        </a:schemeClr>
                      </a:solidFill>
                      <a:prstDash val="solid"/>
                      <a:round/>
                      <a:headEnd type="none" w="med" len="med"/>
                      <a:tailEnd type="none" w="med" len="med"/>
                    </a:lnT>
                    <a:solidFill>
                      <a:srgbClr val="E9E8F4"/>
                    </a:solidFill>
                  </a:tcPr>
                </a:tc>
              </a:tr>
            </a:tbl>
          </a:graphicData>
        </a:graphic>
      </p:graphicFrame>
      <p:sp>
        <p:nvSpPr>
          <p:cNvPr id="31" name="Rectangle: Rounded Corners 2"/>
          <p:cNvSpPr/>
          <p:nvPr/>
        </p:nvSpPr>
        <p:spPr>
          <a:xfrm>
            <a:off x="680225" y="1102256"/>
            <a:ext cx="5016114" cy="366741"/>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cs typeface="+mn-cs"/>
              </a:rPr>
              <a:t>药品基本信息</a:t>
            </a:r>
            <a:endPar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grpSp>
        <p:nvGrpSpPr>
          <p:cNvPr id="33" name="Group 106"/>
          <p:cNvGrpSpPr/>
          <p:nvPr/>
        </p:nvGrpSpPr>
        <p:grpSpPr>
          <a:xfrm rot="16200000">
            <a:off x="5676756" y="3432891"/>
            <a:ext cx="442402" cy="266174"/>
            <a:chOff x="5846287" y="2473088"/>
            <a:chExt cx="356353" cy="217391"/>
          </a:xfrm>
          <a:effectLst>
            <a:outerShdw blurRad="50800" dist="38100" dir="2700000" algn="tl" rotWithShape="0">
              <a:prstClr val="black">
                <a:alpha val="40000"/>
              </a:prstClr>
            </a:outerShdw>
          </a:effectLst>
        </p:grpSpPr>
        <p:sp>
          <p:nvSpPr>
            <p:cNvPr id="34" name="Arrow: Chevron 107"/>
            <p:cNvSpPr/>
            <p:nvPr/>
          </p:nvSpPr>
          <p:spPr>
            <a:xfrm rot="5400000">
              <a:off x="5951857" y="2439695"/>
              <a:ext cx="145214" cy="356353"/>
            </a:xfrm>
            <a:prstGeom prst="chevron">
              <a:avLst/>
            </a:prstGeom>
            <a:solidFill>
              <a:schemeClr val="accent1">
                <a:lumMod val="75000"/>
              </a:schemeClr>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en-US" sz="1420" b="0" i="0" u="none" strike="noStrike" kern="1200" cap="none" spc="0" normalizeH="0" baseline="0" noProof="0">
                <a:ln>
                  <a:noFill/>
                </a:ln>
                <a:solidFill>
                  <a:srgbClr val="000000"/>
                </a:solidFill>
                <a:effectLst/>
                <a:uLnTx/>
                <a:uFillTx/>
                <a:latin typeface="微软雅黑" charset="0"/>
                <a:ea typeface="微软雅黑" charset="0"/>
                <a:cs typeface="+mn-cs"/>
              </a:endParaRPr>
            </a:p>
          </p:txBody>
        </p:sp>
        <p:sp>
          <p:nvSpPr>
            <p:cNvPr id="35" name="Arrow: Chevron 108"/>
            <p:cNvSpPr/>
            <p:nvPr/>
          </p:nvSpPr>
          <p:spPr>
            <a:xfrm rot="5400000">
              <a:off x="5958339" y="2400965"/>
              <a:ext cx="132250" cy="276496"/>
            </a:xfrm>
            <a:prstGeom prst="chevron">
              <a:avLst/>
            </a:prstGeom>
            <a:solidFill>
              <a:srgbClr val="EAEFF7"/>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en-US" sz="1420" b="0" i="0" u="none" strike="noStrike" kern="1200" cap="none" spc="0" normalizeH="0" baseline="0" noProof="0">
                <a:ln>
                  <a:noFill/>
                </a:ln>
                <a:solidFill>
                  <a:srgbClr val="000000"/>
                </a:solidFill>
                <a:effectLst/>
                <a:uLnTx/>
                <a:uFillTx/>
                <a:latin typeface="微软雅黑" charset="0"/>
                <a:ea typeface="微软雅黑" charset="0"/>
                <a:cs typeface="+mn-cs"/>
              </a:endParaRPr>
            </a:p>
          </p:txBody>
        </p:sp>
      </p:grpSp>
      <p:sp>
        <p:nvSpPr>
          <p:cNvPr id="36" name="Rectangle: Rounded Corners 156"/>
          <p:cNvSpPr/>
          <p:nvPr/>
        </p:nvSpPr>
        <p:spPr>
          <a:xfrm>
            <a:off x="6125372" y="1007836"/>
            <a:ext cx="5733181" cy="555789"/>
          </a:xfrm>
          <a:prstGeom prst="roundRect">
            <a:avLst>
              <a:gd name="adj" fmla="val 39828"/>
            </a:avLst>
          </a:prstGeom>
          <a:solidFill>
            <a:srgbClr val="E9E8F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gn="ctr"/>
            <a:r>
              <a:rPr kumimoji="1" lang="zh-CN" altLang="en-US" sz="1600" b="1" dirty="0">
                <a:solidFill>
                  <a:schemeClr val="tx1"/>
                </a:solidFill>
                <a:latin typeface="微软雅黑" charset="0"/>
                <a:ea typeface="微软雅黑" charset="0"/>
              </a:rPr>
              <a:t>唯一缩瞳抗炎双重功效滴眼液，获国内外指南一致推荐</a:t>
            </a:r>
            <a:endParaRPr kumimoji="1" lang="en-US" altLang="zh-CN" sz="1600" b="1" dirty="0">
              <a:solidFill>
                <a:schemeClr val="tx1"/>
              </a:solidFill>
              <a:latin typeface="微软雅黑" charset="0"/>
              <a:ea typeface="微软雅黑" charset="0"/>
            </a:endParaRPr>
          </a:p>
          <a:p>
            <a:pPr algn="ctr"/>
            <a:r>
              <a:rPr kumimoji="1" lang="zh-CN" altLang="en-US" b="1" dirty="0">
                <a:solidFill>
                  <a:srgbClr val="C00000"/>
                </a:solidFill>
                <a:latin typeface="微软雅黑" charset="0"/>
                <a:ea typeface="微软雅黑" charset="0"/>
              </a:rPr>
              <a:t>围术期一站式稳瞳抗炎</a:t>
            </a:r>
            <a:endParaRPr kumimoji="1" lang="zh-CN" altLang="en-US" b="1" dirty="0">
              <a:solidFill>
                <a:srgbClr val="C00000"/>
              </a:solidFill>
              <a:latin typeface="微软雅黑" charset="0"/>
              <a:ea typeface="微软雅黑" charset="0"/>
            </a:endParaRPr>
          </a:p>
        </p:txBody>
      </p:sp>
      <p:grpSp>
        <p:nvGrpSpPr>
          <p:cNvPr id="4" name="Group 21"/>
          <p:cNvGrpSpPr/>
          <p:nvPr/>
        </p:nvGrpSpPr>
        <p:grpSpPr>
          <a:xfrm>
            <a:off x="6134897" y="1649639"/>
            <a:ext cx="5729036" cy="2651820"/>
            <a:chOff x="803576" y="1926084"/>
            <a:chExt cx="5729036" cy="2447132"/>
          </a:xfrm>
        </p:grpSpPr>
        <p:sp>
          <p:nvSpPr>
            <p:cNvPr id="10" name="object 25"/>
            <p:cNvSpPr txBox="1"/>
            <p:nvPr/>
          </p:nvSpPr>
          <p:spPr>
            <a:xfrm>
              <a:off x="803576" y="1946708"/>
              <a:ext cx="5729036" cy="2424274"/>
            </a:xfrm>
            <a:prstGeom prst="rect">
              <a:avLst/>
            </a:prstGeom>
            <a:solidFill>
              <a:schemeClr val="bg1">
                <a:lumMod val="95000"/>
              </a:schemeClr>
            </a:solidFill>
          </p:spPr>
          <p:txBody>
            <a:bodyPr vert="horz" wrap="square" lIns="182880" tIns="0" rIns="182880" bIns="0" rtlCol="0" anchor="ctr">
              <a:noAutofit/>
            </a:bodyPr>
            <a:lstStyle/>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defRPr/>
              </a:pPr>
              <a:r>
                <a:rPr kumimoji="0" lang="zh-CN" altLang="en-US" sz="1600" b="1" i="0" strike="noStrike" kern="1200" cap="none" spc="0" normalizeH="0" baseline="0" noProof="0" dirty="0">
                  <a:ln>
                    <a:noFill/>
                  </a:ln>
                  <a:solidFill>
                    <a:srgbClr val="302E5D"/>
                  </a:solidFill>
                  <a:effectLst/>
                  <a:uLnTx/>
                  <a:uFillTx/>
                  <a:latin typeface="微软雅黑" charset="0"/>
                  <a:ea typeface="微软雅黑" charset="0"/>
                  <a:cs typeface="微软雅黑" charset="0"/>
                </a:rPr>
                <a:t>围术期一站式护航</a:t>
              </a:r>
              <a:r>
                <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获批“抑制术中缩瞳</a:t>
              </a:r>
              <a:r>
                <a:rPr kumimoji="0" lang="en-US" altLang="zh-CN"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a:t>
              </a:r>
              <a:r>
                <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术后抗炎”双适应症，实现围术期全程用药管理</a:t>
              </a:r>
              <a:endPar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endParaRPr>
            </a:p>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defRPr/>
              </a:pPr>
              <a:r>
                <a:rPr kumimoji="0" lang="zh-CN" altLang="en-US" sz="1600" b="1" i="0" strike="noStrike" kern="1200" cap="none" spc="0" normalizeH="0" baseline="0" noProof="0" dirty="0">
                  <a:ln>
                    <a:noFill/>
                  </a:ln>
                  <a:solidFill>
                    <a:srgbClr val="302E5D"/>
                  </a:solidFill>
                  <a:effectLst/>
                  <a:uLnTx/>
                  <a:uFillTx/>
                  <a:latin typeface="微软雅黑" charset="0"/>
                  <a:ea typeface="微软雅黑" charset="0"/>
                  <a:cs typeface="微软雅黑" charset="0"/>
                </a:rPr>
                <a:t>单剂量</a:t>
              </a:r>
              <a:r>
                <a:rPr lang="zh-CN" altLang="en-US" sz="1600" b="1" dirty="0">
                  <a:solidFill>
                    <a:srgbClr val="302E5D"/>
                  </a:solidFill>
                  <a:latin typeface="微软雅黑" charset="0"/>
                  <a:ea typeface="微软雅黑" charset="0"/>
                  <a:cs typeface="微软雅黑" charset="0"/>
                </a:rPr>
                <a:t>包装</a:t>
              </a:r>
              <a:r>
                <a:rPr kumimoji="0" lang="zh-CN" altLang="en-US" sz="1600" b="1" i="0" strike="noStrike" kern="1200" cap="none" spc="0" normalizeH="0" baseline="0" noProof="0" dirty="0">
                  <a:ln>
                    <a:noFill/>
                  </a:ln>
                  <a:solidFill>
                    <a:srgbClr val="302E5D"/>
                  </a:solidFill>
                  <a:effectLst/>
                  <a:uLnTx/>
                  <a:uFillTx/>
                  <a:latin typeface="微软雅黑" charset="0"/>
                  <a:ea typeface="微软雅黑" charset="0"/>
                  <a:cs typeface="微软雅黑" charset="0"/>
                </a:rPr>
                <a:t>更易管理</a:t>
              </a:r>
              <a:r>
                <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单剂量包装可实现精准给药，相较多剂量包装参比制剂可减少反复开启带来的污染风险，便于临床管理</a:t>
              </a:r>
              <a:endPar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endParaRPr>
            </a:p>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defRPr/>
              </a:pPr>
              <a:r>
                <a:rPr kumimoji="0" lang="zh-CN" altLang="en-US" sz="1600" b="1" i="0" strike="noStrike" kern="1200" cap="none" spc="0" normalizeH="0" baseline="0" noProof="0" dirty="0">
                  <a:ln>
                    <a:noFill/>
                  </a:ln>
                  <a:solidFill>
                    <a:srgbClr val="302E5D"/>
                  </a:solidFill>
                  <a:effectLst/>
                  <a:uLnTx/>
                  <a:uFillTx/>
                  <a:latin typeface="微软雅黑" charset="0"/>
                  <a:ea typeface="微软雅黑" charset="0"/>
                  <a:cs typeface="微软雅黑" charset="0"/>
                </a:rPr>
                <a:t>临床证据充分</a:t>
              </a:r>
              <a:r>
                <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国内外大量临床证据证明本品可显著减少术中缩瞳，抗炎效果与激素相当且无升高眼压风险；同领域药物如溴芬酸钠滴眼液中国质量一致性证据相对缺乏</a:t>
              </a:r>
              <a:endPar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endParaRPr>
            </a:p>
            <a:p>
              <a:pPr marL="285750" lvl="0" indent="-285750">
                <a:spcBef>
                  <a:spcPts val="300"/>
                </a:spcBef>
                <a:buFont typeface="Wingdings" panose="05000000000000000000" pitchFamily="2" charset="2"/>
                <a:buChar char="q"/>
                <a:defRPr/>
              </a:pPr>
              <a:r>
                <a:rPr kumimoji="0" lang="zh-CN" altLang="en-US" sz="1600" b="1" i="0" strike="noStrike" kern="1200" cap="none" spc="0" normalizeH="0" baseline="0" noProof="0" dirty="0">
                  <a:ln>
                    <a:noFill/>
                  </a:ln>
                  <a:solidFill>
                    <a:srgbClr val="302E5D"/>
                  </a:solidFill>
                  <a:effectLst/>
                  <a:uLnTx/>
                  <a:uFillTx/>
                  <a:latin typeface="微软雅黑" charset="0"/>
                  <a:ea typeface="微软雅黑" charset="0"/>
                  <a:cs typeface="微软雅黑" charset="0"/>
                </a:rPr>
                <a:t>无防腐剂更温和</a:t>
              </a:r>
              <a:r>
                <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rPr>
                <a:t>：本品无防腐剂添加，减轻角膜上皮负担，短程、高频、敏感眼表状态亦适用；同领域药物大多含防腐剂，易引起角膜上皮损伤，刺激性相对较大</a:t>
              </a:r>
              <a:endParaRPr kumimoji="0" lang="zh-CN" altLang="en-US" sz="1400" i="0" strike="noStrike" kern="1200" cap="none" spc="0" normalizeH="0" baseline="0" noProof="0" dirty="0">
                <a:ln>
                  <a:noFill/>
                </a:ln>
                <a:solidFill>
                  <a:srgbClr val="302E5D"/>
                </a:solidFill>
                <a:effectLst/>
                <a:uLnTx/>
                <a:uFillTx/>
                <a:latin typeface="微软雅黑" charset="0"/>
                <a:ea typeface="微软雅黑" charset="0"/>
                <a:cs typeface="微软雅黑" charset="0"/>
              </a:endParaRPr>
            </a:p>
          </p:txBody>
        </p:sp>
        <p:sp>
          <p:nvSpPr>
            <p:cNvPr id="11" name="Half Frame 19"/>
            <p:cNvSpPr/>
            <p:nvPr/>
          </p:nvSpPr>
          <p:spPr>
            <a:xfrm>
              <a:off x="803576" y="1926084"/>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solidFill>
                  <a:schemeClr val="tx1"/>
                </a:solidFill>
                <a:latin typeface="微软雅黑" charset="0"/>
                <a:ea typeface="微软雅黑" charset="0"/>
              </a:endParaRPr>
            </a:p>
          </p:txBody>
        </p:sp>
        <p:sp>
          <p:nvSpPr>
            <p:cNvPr id="13" name="Half Frame 20"/>
            <p:cNvSpPr/>
            <p:nvPr/>
          </p:nvSpPr>
          <p:spPr>
            <a:xfrm rot="10800000">
              <a:off x="6294376" y="4139743"/>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grpSp>
      <p:cxnSp>
        <p:nvCxnSpPr>
          <p:cNvPr id="14" name="Straight Connector 33"/>
          <p:cNvCxnSpPr/>
          <p:nvPr/>
        </p:nvCxnSpPr>
        <p:spPr>
          <a:xfrm>
            <a:off x="6209150" y="4532978"/>
            <a:ext cx="5649403" cy="0"/>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Text Placeholder 7"/>
          <p:cNvSpPr txBox="1"/>
          <p:nvPr/>
        </p:nvSpPr>
        <p:spPr>
          <a:xfrm>
            <a:off x="7663125" y="4424616"/>
            <a:ext cx="2887980" cy="325755"/>
          </a:xfrm>
          <a:prstGeom prst="rect">
            <a:avLst/>
          </a:prstGeom>
          <a:solidFill>
            <a:schemeClr val="bg1"/>
          </a:solidFill>
          <a:ln>
            <a:solidFill>
              <a:schemeClr val="bg1"/>
            </a:solidFill>
          </a:ln>
        </p:spPr>
        <p:txBody>
          <a:bodyPr anchor="b"/>
          <a:lst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60000"/>
              </a:lnSpc>
              <a:spcBef>
                <a:spcPts val="1000"/>
              </a:spcBef>
              <a:spcAft>
                <a:spcPts val="0"/>
              </a:spcAft>
              <a:buClrTx/>
              <a:buSzTx/>
              <a:buFont typeface="Arial" panose="020B0604020202090204" pitchFamily="34" charset="0"/>
              <a:buNone/>
              <a:defRPr/>
            </a:pPr>
            <a:r>
              <a:rPr kumimoji="0" lang="zh-CN" altLang="en-US" sz="1600" b="1" u="none" strike="noStrike" kern="1200" cap="none" spc="0" normalizeH="0" baseline="0" noProof="0" dirty="0">
                <a:ln>
                  <a:noFill/>
                </a:ln>
                <a:solidFill>
                  <a:schemeClr val="accent1"/>
                </a:solidFill>
                <a:effectLst/>
                <a:uLnTx/>
                <a:uFillTx/>
                <a:latin typeface="微软雅黑" charset="0"/>
                <a:ea typeface="微软雅黑" charset="0"/>
                <a:cs typeface="+mn-cs"/>
              </a:rPr>
              <a:t>参照品建议：溴芬酸钠滴眼液</a:t>
            </a:r>
            <a:endParaRPr kumimoji="0" lang="zh-CN" altLang="en-US" sz="1600" b="1" u="none" strike="noStrike" kern="1200" cap="none" spc="0" normalizeH="0" baseline="0" noProof="0" dirty="0">
              <a:ln>
                <a:noFill/>
              </a:ln>
              <a:solidFill>
                <a:schemeClr val="accent1"/>
              </a:solidFill>
              <a:effectLst/>
              <a:uLnTx/>
              <a:uFillTx/>
              <a:latin typeface="微软雅黑" charset="0"/>
              <a:ea typeface="微软雅黑" charset="0"/>
              <a:cs typeface="+mn-cs"/>
            </a:endParaRPr>
          </a:p>
        </p:txBody>
      </p:sp>
      <p:sp>
        <p:nvSpPr>
          <p:cNvPr id="26" name="TextBox 10"/>
          <p:cNvSpPr txBox="1"/>
          <p:nvPr/>
        </p:nvSpPr>
        <p:spPr>
          <a:xfrm>
            <a:off x="6565680" y="5711128"/>
            <a:ext cx="5292872" cy="700576"/>
          </a:xfrm>
          <a:prstGeom prst="rect">
            <a:avLst/>
          </a:prstGeom>
          <a:ln w="12700">
            <a:miter lim="400000"/>
          </a:ln>
        </p:spPr>
        <p:txBody>
          <a:bodyPr wrap="square" lIns="45719" rIns="45719">
            <a:spAutoFit/>
          </a:bodyPr>
          <a:lstStyle/>
          <a:p>
            <a:pPr marL="70485" lvl="1" algn="just" fontAlgn="auto">
              <a:lnSpc>
                <a:spcPct val="150000"/>
              </a:lnSpc>
              <a:spcBef>
                <a:spcPts val="300"/>
              </a:spcBef>
              <a:spcAft>
                <a:spcPts val="300"/>
              </a:spcAft>
              <a:buSzPct val="100000"/>
              <a:defRPr sz="1400"/>
            </a:pPr>
            <a:r>
              <a:rPr lang="zh-CN" altLang="en-US" sz="1400" dirty="0">
                <a:latin typeface="微软雅黑" charset="0"/>
                <a:ea typeface="微软雅黑" charset="0"/>
                <a:cs typeface="微软雅黑" charset="0"/>
              </a:rPr>
              <a:t>溴芬酸钠滴眼液为⾮甾体抗炎药类滴眼液中在术后抗炎领域应⽤最⼴泛的⽬录内药品，符合医保谈判的对照品选择原则</a:t>
            </a:r>
            <a:r>
              <a:rPr lang="en-US" altLang="zh-CN" sz="1400" dirty="0">
                <a:latin typeface="微软雅黑" charset="0"/>
                <a:ea typeface="微软雅黑" charset="0"/>
                <a:cs typeface="微软雅黑" charset="0"/>
              </a:rPr>
              <a:t>；</a:t>
            </a:r>
            <a:endParaRPr lang="en-US" altLang="zh-CN" sz="1400" dirty="0">
              <a:latin typeface="微软雅黑" charset="0"/>
              <a:ea typeface="微软雅黑" charset="0"/>
              <a:cs typeface="微软雅黑" charset="0"/>
            </a:endParaRPr>
          </a:p>
        </p:txBody>
      </p:sp>
      <p:sp>
        <p:nvSpPr>
          <p:cNvPr id="5" name="Rectangle: Top Corners Rounded 3"/>
          <p:cNvSpPr/>
          <p:nvPr/>
        </p:nvSpPr>
        <p:spPr>
          <a:xfrm rot="5400000">
            <a:off x="-365632" y="1580599"/>
            <a:ext cx="1103563" cy="380765"/>
          </a:xfrm>
          <a:prstGeom prst="round2SameRect">
            <a:avLst>
              <a:gd name="adj1" fmla="val 44429"/>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dirty="0">
                <a:latin typeface="微软雅黑" charset="0"/>
                <a:ea typeface="微软雅黑" charset="0"/>
              </a:rPr>
              <a:t>基本信息</a:t>
            </a:r>
            <a:endParaRPr lang="zh-CN" altLang="en-US" sz="1400" b="1" dirty="0">
              <a:latin typeface="微软雅黑" charset="0"/>
              <a:ea typeface="微软雅黑" charset="0"/>
            </a:endParaRPr>
          </a:p>
        </p:txBody>
      </p:sp>
      <p:sp>
        <p:nvSpPr>
          <p:cNvPr id="8" name="Rectangle: Top Corners Rounded 13"/>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创新性</a:t>
            </a:r>
            <a:endParaRPr lang="zh-CN" altLang="en-US" sz="1400" b="1" err="1">
              <a:latin typeface="微软雅黑" charset="0"/>
              <a:ea typeface="微软雅黑" charset="0"/>
            </a:endParaRPr>
          </a:p>
        </p:txBody>
      </p:sp>
      <p:sp>
        <p:nvSpPr>
          <p:cNvPr id="9" name="Rectangle: Top Corners Rounded 14"/>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公平性</a:t>
            </a:r>
            <a:endParaRPr lang="zh-CN" altLang="en-US" sz="1400" b="1">
              <a:latin typeface="微软雅黑" charset="0"/>
              <a:ea typeface="微软雅黑" charset="0"/>
            </a:endParaRPr>
          </a:p>
        </p:txBody>
      </p:sp>
      <p:sp>
        <p:nvSpPr>
          <p:cNvPr id="16"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安全性</a:t>
            </a:r>
            <a:endParaRPr lang="zh-CN" altLang="en-US" sz="1400" b="1">
              <a:latin typeface="微软雅黑" charset="0"/>
              <a:ea typeface="微软雅黑" charset="0"/>
            </a:endParaRPr>
          </a:p>
        </p:txBody>
      </p:sp>
      <p:sp>
        <p:nvSpPr>
          <p:cNvPr id="17" name="Rectangle: Top Corners Rounded 40"/>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有效性</a:t>
            </a:r>
            <a:endParaRPr lang="zh-CN" altLang="en-US" sz="1400" b="1">
              <a:latin typeface="微软雅黑" charset="0"/>
              <a:ea typeface="微软雅黑" charset="0"/>
            </a:endParaRPr>
          </a:p>
        </p:txBody>
      </p:sp>
      <p:sp>
        <p:nvSpPr>
          <p:cNvPr id="6"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latin typeface="微软雅黑" charset="0"/>
                <a:ea typeface="微软雅黑" charset="0"/>
              </a:rPr>
              <a:t>1</a:t>
            </a:r>
            <a:endParaRPr lang="en-US" sz="1000" b="1">
              <a:solidFill>
                <a:schemeClr val="bg1"/>
              </a:solidFill>
              <a:latin typeface="微软雅黑" charset="0"/>
              <a:ea typeface="微软雅黑" charset="0"/>
            </a:endParaRPr>
          </a:p>
        </p:txBody>
      </p:sp>
      <p:sp>
        <p:nvSpPr>
          <p:cNvPr id="7" name="文本框 6"/>
          <p:cNvSpPr txBox="1"/>
          <p:nvPr/>
        </p:nvSpPr>
        <p:spPr>
          <a:xfrm>
            <a:off x="640932" y="6593672"/>
            <a:ext cx="10591800" cy="245110"/>
          </a:xfrm>
          <a:prstGeom prst="rect">
            <a:avLst/>
          </a:prstGeom>
          <a:noFill/>
        </p:spPr>
        <p:txBody>
          <a:bodyPr wrap="square" rtlCol="0" anchor="t">
            <a:spAutoFit/>
          </a:bodyPr>
          <a:lstStyle/>
          <a:p>
            <a:pPr marL="0" marR="0" lvl="0" indent="0" algn="l" defTabSz="914400" rtl="0" eaLnBrk="0" fontAlgn="base" latinLnBrk="0" hangingPunct="0">
              <a:lnSpc>
                <a:spcPct val="100000"/>
              </a:lnSpc>
              <a:spcBef>
                <a:spcPct val="0"/>
              </a:spcBef>
              <a:spcAft>
                <a:spcPct val="0"/>
              </a:spcAft>
              <a:buClrTx/>
              <a:buSzTx/>
            </a:pPr>
            <a:r>
              <a:rPr lang="zh-CN" altLang="en-US" sz="1000" dirty="0">
                <a:ln>
                  <a:noFill/>
                </a:ln>
                <a:solidFill>
                  <a:schemeClr val="tx1">
                    <a:lumMod val="50000"/>
                    <a:lumOff val="50000"/>
                  </a:schemeClr>
                </a:solidFill>
                <a:effectLst/>
                <a:latin typeface="微软雅黑" charset="0"/>
                <a:ea typeface="微软雅黑" charset="0"/>
                <a:cs typeface="微软雅黑" charset="0"/>
                <a:sym typeface="+mn-ea"/>
              </a:rPr>
              <a:t>数据来源：</a:t>
            </a:r>
            <a:r>
              <a:rPr lang="zh-CN" altLang="zh-CN" sz="1000" dirty="0">
                <a:ln>
                  <a:noFill/>
                </a:ln>
                <a:solidFill>
                  <a:schemeClr val="tx1">
                    <a:lumMod val="50000"/>
                    <a:lumOff val="50000"/>
                  </a:schemeClr>
                </a:solidFill>
                <a:effectLst/>
                <a:latin typeface="微软雅黑" charset="0"/>
                <a:ea typeface="微软雅黑" charset="0"/>
                <a:cs typeface="微软雅黑" charset="0"/>
                <a:sym typeface="+mn-ea"/>
              </a:rPr>
              <a:t>国家卫生健康委：《“十四五”全国眼健康规划（2021–2025年）》及解读</a:t>
            </a:r>
            <a:r>
              <a:rPr lang="zh-CN" altLang="en-US" sz="1000" dirty="0">
                <a:ln>
                  <a:noFill/>
                </a:ln>
                <a:solidFill>
                  <a:schemeClr val="tx1">
                    <a:lumMod val="50000"/>
                    <a:lumOff val="50000"/>
                  </a:schemeClr>
                </a:solidFill>
                <a:effectLst/>
                <a:latin typeface="微软雅黑" charset="0"/>
                <a:ea typeface="微软雅黑" charset="0"/>
                <a:cs typeface="微软雅黑" charset="0"/>
                <a:sym typeface="+mn-ea"/>
              </a:rPr>
              <a:t>；</a:t>
            </a:r>
            <a:r>
              <a:rPr lang="zh-CN" altLang="zh-CN" sz="1000" dirty="0">
                <a:ln>
                  <a:noFill/>
                </a:ln>
                <a:solidFill>
                  <a:schemeClr val="tx1">
                    <a:lumMod val="50000"/>
                    <a:lumOff val="50000"/>
                  </a:schemeClr>
                </a:solidFill>
                <a:effectLst/>
                <a:latin typeface="微软雅黑" charset="0"/>
                <a:ea typeface="微软雅黑" charset="0"/>
                <a:cs typeface="微软雅黑" charset="0"/>
                <a:sym typeface="+mn-ea"/>
              </a:rPr>
              <a:t>《中国青光眼指南（2020年）》</a:t>
            </a:r>
            <a:r>
              <a:rPr lang="zh-CN" altLang="en-US" sz="1000" dirty="0">
                <a:ln>
                  <a:noFill/>
                </a:ln>
                <a:solidFill>
                  <a:schemeClr val="tx1">
                    <a:lumMod val="50000"/>
                    <a:lumOff val="50000"/>
                  </a:schemeClr>
                </a:solidFill>
                <a:effectLst/>
                <a:latin typeface="微软雅黑" charset="0"/>
                <a:ea typeface="微软雅黑" charset="0"/>
                <a:cs typeface="微软雅黑" charset="0"/>
                <a:sym typeface="+mn-ea"/>
              </a:rPr>
              <a:t>；</a:t>
            </a:r>
            <a:r>
              <a:rPr lang="zh-CN" altLang="zh-CN" sz="1000" dirty="0">
                <a:ln>
                  <a:noFill/>
                </a:ln>
                <a:solidFill>
                  <a:schemeClr val="tx1">
                    <a:lumMod val="50000"/>
                    <a:lumOff val="50000"/>
                  </a:schemeClr>
                </a:solidFill>
                <a:effectLst/>
                <a:latin typeface="微软雅黑" charset="0"/>
                <a:ea typeface="微软雅黑" charset="0"/>
                <a:cs typeface="微软雅黑" charset="0"/>
                <a:sym typeface="+mn-ea"/>
              </a:rPr>
              <a:t>《中、欧国际近视手术大数据白皮书2.0》</a:t>
            </a:r>
            <a:endParaRPr lang="zh-CN" altLang="zh-CN" sz="1000" dirty="0">
              <a:ln>
                <a:noFill/>
              </a:ln>
              <a:solidFill>
                <a:schemeClr val="tx1">
                  <a:lumMod val="50000"/>
                  <a:lumOff val="50000"/>
                </a:schemeClr>
              </a:solidFill>
              <a:effectLst/>
              <a:latin typeface="微软雅黑" charset="0"/>
              <a:ea typeface="微软雅黑" charset="0"/>
              <a:cs typeface="微软雅黑" charset="0"/>
              <a:sym typeface="+mn-ea"/>
            </a:endParaRPr>
          </a:p>
        </p:txBody>
      </p:sp>
      <p:sp>
        <p:nvSpPr>
          <p:cNvPr id="18" name="Flowchart: Connector 40"/>
          <p:cNvSpPr/>
          <p:nvPr/>
        </p:nvSpPr>
        <p:spPr>
          <a:xfrm>
            <a:off x="6209150" y="4749194"/>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1</a:t>
            </a:r>
            <a:endParaRPr lang="en-GB" sz="1400" b="1" dirty="0">
              <a:latin typeface="微软雅黑" panose="020B0503020204020204" pitchFamily="34" charset="-122"/>
              <a:ea typeface="微软雅黑" panose="020B0503020204020204" pitchFamily="34" charset="-122"/>
            </a:endParaRPr>
          </a:p>
        </p:txBody>
      </p:sp>
      <p:sp>
        <p:nvSpPr>
          <p:cNvPr id="19" name="文本框 18"/>
          <p:cNvSpPr txBox="1"/>
          <p:nvPr/>
        </p:nvSpPr>
        <p:spPr>
          <a:xfrm>
            <a:off x="6565681" y="4677778"/>
            <a:ext cx="5337974" cy="418191"/>
          </a:xfrm>
          <a:prstGeom prst="rect">
            <a:avLst/>
          </a:prstGeom>
          <a:noFill/>
        </p:spPr>
        <p:txBody>
          <a:bodyPr wrap="square" rtlCol="0">
            <a:spAutoFit/>
          </a:bodyPr>
          <a:lstStyle/>
          <a:p>
            <a:pPr>
              <a:lnSpc>
                <a:spcPct val="150000"/>
              </a:lnSpc>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rPr>
              <a:t>作用机制相同</a:t>
            </a:r>
            <a:endPar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20" name="Flowchart: Connector 40"/>
          <p:cNvSpPr/>
          <p:nvPr/>
        </p:nvSpPr>
        <p:spPr>
          <a:xfrm>
            <a:off x="6192374" y="5423128"/>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微软雅黑" panose="020B0503020204020204" pitchFamily="34" charset="-122"/>
                <a:ea typeface="微软雅黑" panose="020B0503020204020204" pitchFamily="34" charset="-122"/>
              </a:rPr>
              <a:t>2</a:t>
            </a:r>
            <a:endParaRPr lang="en-GB" sz="1400" b="1" dirty="0">
              <a:latin typeface="微软雅黑" panose="020B0503020204020204" pitchFamily="34" charset="-122"/>
              <a:ea typeface="微软雅黑" panose="020B0503020204020204" pitchFamily="34" charset="-122"/>
            </a:endParaRPr>
          </a:p>
        </p:txBody>
      </p:sp>
      <p:sp>
        <p:nvSpPr>
          <p:cNvPr id="21" name="文本框 20"/>
          <p:cNvSpPr txBox="1"/>
          <p:nvPr/>
        </p:nvSpPr>
        <p:spPr>
          <a:xfrm>
            <a:off x="6565680" y="5062084"/>
            <a:ext cx="5292872" cy="307777"/>
          </a:xfrm>
          <a:prstGeom prst="rect">
            <a:avLst/>
          </a:prstGeom>
          <a:noFill/>
        </p:spPr>
        <p:txBody>
          <a:bodyPr wrap="square">
            <a:spAutoFit/>
          </a:bodyPr>
          <a:lstStyle/>
          <a:p>
            <a:r>
              <a:rPr lang="zh-CN" altLang="en-US" sz="1400" dirty="0">
                <a:latin typeface="微软雅黑" panose="020B0503020204020204" pitchFamily="34" charset="-122"/>
                <a:ea typeface="微软雅黑" panose="020B0503020204020204" pitchFamily="34" charset="-122"/>
              </a:rPr>
              <a:t>溴芬酸钠滴眼液和氟比洛芬钠滴眼液同为⾮甾体抗炎药类滴眼液</a:t>
            </a:r>
            <a:endParaRPr lang="zh-CN" altLang="en-US" sz="1400" dirty="0">
              <a:latin typeface="微软雅黑" panose="020B0503020204020204" pitchFamily="34" charset="-122"/>
              <a:ea typeface="微软雅黑" panose="020B0503020204020204" pitchFamily="34" charset="-122"/>
            </a:endParaRPr>
          </a:p>
        </p:txBody>
      </p:sp>
      <p:sp>
        <p:nvSpPr>
          <p:cNvPr id="22" name="文本框 21"/>
          <p:cNvSpPr txBox="1"/>
          <p:nvPr/>
        </p:nvSpPr>
        <p:spPr>
          <a:xfrm>
            <a:off x="6565681" y="5337673"/>
            <a:ext cx="5337974" cy="418191"/>
          </a:xfrm>
          <a:prstGeom prst="rect">
            <a:avLst/>
          </a:prstGeom>
          <a:noFill/>
        </p:spPr>
        <p:txBody>
          <a:bodyPr wrap="square" rtlCol="0">
            <a:spAutoFit/>
          </a:bodyPr>
          <a:lstStyle/>
          <a:p>
            <a:pPr>
              <a:lnSpc>
                <a:spcPct val="150000"/>
              </a:lnSpc>
            </a:pPr>
            <a:r>
              <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rPr>
              <a:t>医保目录同领域内临床应用内最广泛</a:t>
            </a:r>
            <a:endParaRPr lang="zh-CN" altLang="en-US" sz="16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8" name="Rectangle: Rounded Corners 2"/>
          <p:cNvSpPr/>
          <p:nvPr/>
        </p:nvSpPr>
        <p:spPr>
          <a:xfrm>
            <a:off x="5990159" y="1218925"/>
            <a:ext cx="5737127" cy="909176"/>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术中缩瞳抑制和术后抗炎是手术预后的关键保障因素</a:t>
            </a:r>
            <a:endPar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9" name="Content Placeholder 3"/>
          <p:cNvSpPr txBox="1"/>
          <p:nvPr/>
        </p:nvSpPr>
        <p:spPr>
          <a:xfrm>
            <a:off x="5971651" y="1727262"/>
            <a:ext cx="5737127" cy="4670364"/>
          </a:xfrm>
          <a:prstGeom prst="roundRect">
            <a:avLst>
              <a:gd name="adj" fmla="val 5554"/>
            </a:avLst>
          </a:prstGeom>
          <a:solidFill>
            <a:schemeClr val="bg1"/>
          </a:solidFill>
          <a:ln w="12700">
            <a:solidFill>
              <a:schemeClr val="accent2"/>
            </a:solidFill>
          </a:ln>
          <a:effectLst>
            <a:outerShdw blurRad="50800" dist="38100" dir="2700000" algn="tl"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a:lnSpc>
                <a:spcPct val="125000"/>
              </a:lnSpc>
              <a:buNone/>
            </a:pPr>
            <a:endParaRPr lang="en-US" sz="1300" b="1" dirty="0">
              <a:latin typeface="微软雅黑" panose="020B0503020204020204" pitchFamily="34" charset="-122"/>
              <a:ea typeface="微软雅黑" panose="020B0503020204020204" pitchFamily="34" charset="-122"/>
            </a:endParaRPr>
          </a:p>
        </p:txBody>
      </p:sp>
      <p:sp>
        <p:nvSpPr>
          <p:cNvPr id="27" name="Rectangle: Rounded Corners 2"/>
          <p:cNvSpPr/>
          <p:nvPr/>
        </p:nvSpPr>
        <p:spPr>
          <a:xfrm>
            <a:off x="691029" y="1218925"/>
            <a:ext cx="5127693" cy="909176"/>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lIns="0" tIns="108000" rIns="0" rtlCol="0" anchor="t" anchorCtr="0"/>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中国内眼手术量庞大，围术期管理负担日益凸显</a:t>
            </a:r>
            <a:endPar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9" name="Content Placeholder 3"/>
          <p:cNvSpPr txBox="1"/>
          <p:nvPr/>
        </p:nvSpPr>
        <p:spPr>
          <a:xfrm>
            <a:off x="681603" y="1727261"/>
            <a:ext cx="5137119" cy="4670364"/>
          </a:xfrm>
          <a:prstGeom prst="roundRect">
            <a:avLst>
              <a:gd name="adj" fmla="val 5554"/>
            </a:avLst>
          </a:prstGeom>
          <a:solidFill>
            <a:schemeClr val="bg1"/>
          </a:solidFill>
          <a:ln w="12700">
            <a:solidFill>
              <a:schemeClr val="accent2"/>
            </a:solidFill>
          </a:ln>
          <a:effectLst>
            <a:outerShdw blurRad="50800" dist="38100" dir="2700000" algn="tl"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Clr>
                <a:schemeClr val="tx1"/>
              </a:buClr>
              <a:buNone/>
            </a:pPr>
            <a:endParaRPr lang="en-US" sz="1300" dirty="0">
              <a:latin typeface="微软雅黑" panose="020B0503020204020204" pitchFamily="34" charset="-122"/>
              <a:ea typeface="微软雅黑" panose="020B0503020204020204" pitchFamily="34" charset="-122"/>
            </a:endParaRPr>
          </a:p>
        </p:txBody>
      </p:sp>
      <p:pic>
        <p:nvPicPr>
          <p:cNvPr id="7" name="Graphic 51"/>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7391" y="4511662"/>
            <a:ext cx="479449" cy="479449"/>
          </a:xfrm>
          <a:prstGeom prst="rect">
            <a:avLst/>
          </a:prstGeom>
        </p:spPr>
      </p:pic>
      <p:pic>
        <p:nvPicPr>
          <p:cNvPr id="5" name="图形 4" descr="细菌 轮廓"/>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7533" y="1772397"/>
            <a:ext cx="480300" cy="480300"/>
          </a:xfrm>
          <a:prstGeom prst="rect">
            <a:avLst/>
          </a:prstGeom>
        </p:spPr>
      </p:pic>
      <p:sp>
        <p:nvSpPr>
          <p:cNvPr id="21" name="文本框 20"/>
          <p:cNvSpPr txBox="1"/>
          <p:nvPr/>
        </p:nvSpPr>
        <p:spPr>
          <a:xfrm>
            <a:off x="1243187" y="1838416"/>
            <a:ext cx="4290456" cy="345094"/>
          </a:xfrm>
          <a:prstGeom prst="rect">
            <a:avLst/>
          </a:prstGeom>
          <a:noFill/>
        </p:spPr>
        <p:txBody>
          <a:bodyPr wrap="square" rtlCol="0">
            <a:spAutoFit/>
          </a:bodyPr>
          <a:lstStyle/>
          <a:p>
            <a:pPr algn="ctr">
              <a:lnSpc>
                <a:spcPct val="130000"/>
              </a:lnSpc>
            </a:pPr>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cs typeface="微软雅黑" charset="0"/>
              </a:rPr>
              <a:t>中国作为全球眼病患者最多的国家，眼病患者基数大</a:t>
            </a:r>
            <a:endPar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cs typeface="微软雅黑" charset="0"/>
            </a:endParaRPr>
          </a:p>
        </p:txBody>
      </p:sp>
      <p:sp>
        <p:nvSpPr>
          <p:cNvPr id="35" name="文本框 34"/>
          <p:cNvSpPr txBox="1"/>
          <p:nvPr/>
        </p:nvSpPr>
        <p:spPr>
          <a:xfrm>
            <a:off x="6136638" y="2238657"/>
            <a:ext cx="5222257" cy="999889"/>
          </a:xfrm>
          <a:prstGeom prst="rect">
            <a:avLst/>
          </a:prstGeom>
          <a:noFill/>
        </p:spPr>
        <p:txBody>
          <a:bodyPr wrap="square" rtlCol="0">
            <a:spAutoFit/>
          </a:bodyPr>
          <a:lstStyle/>
          <a:p>
            <a:pPr marL="285750" indent="-285750" algn="just">
              <a:lnSpc>
                <a:spcPct val="120000"/>
              </a:lnSpc>
              <a:spcBef>
                <a:spcPts val="600"/>
              </a:spcBef>
              <a:buSzPct val="100000"/>
              <a:buFont typeface="Wingdings" panose="05000000000000000000" charset="0"/>
              <a:buChar char=""/>
              <a:defRPr sz="1300"/>
            </a:pPr>
            <a:r>
              <a:rPr lang="zh-CN" altLang="en-US" sz="1400" dirty="0" err="1">
                <a:solidFill>
                  <a:srgbClr val="141515"/>
                </a:solidFill>
                <a:latin typeface="微软雅黑" panose="020B0503020204020204" pitchFamily="34" charset="-122"/>
                <a:ea typeface="微软雅黑" panose="020B0503020204020204" pitchFamily="34" charset="-122"/>
              </a:rPr>
              <a:t>白内障等内眼手术，需维持术中瞳孔直径和手术视野</a:t>
            </a:r>
            <a:r>
              <a:rPr lang="en-US" altLang="zh-CN" sz="1400" dirty="0" err="1">
                <a:solidFill>
                  <a:srgbClr val="141515"/>
                </a:solidFill>
                <a:latin typeface="微软雅黑" panose="020B0503020204020204" pitchFamily="34" charset="-122"/>
                <a:ea typeface="微软雅黑" panose="020B0503020204020204" pitchFamily="34" charset="-122"/>
              </a:rPr>
              <a:t>；</a:t>
            </a:r>
            <a:endParaRPr lang="zh-CN" altLang="en-US" sz="1400" dirty="0" err="1">
              <a:solidFill>
                <a:srgbClr val="141515"/>
              </a:solidFill>
              <a:latin typeface="微软雅黑" panose="020B0503020204020204" pitchFamily="34" charset="-122"/>
              <a:ea typeface="微软雅黑" panose="020B0503020204020204" pitchFamily="34" charset="-122"/>
            </a:endParaRPr>
          </a:p>
          <a:p>
            <a:pPr marL="285750" indent="-285750" algn="just">
              <a:lnSpc>
                <a:spcPct val="120000"/>
              </a:lnSpc>
              <a:spcBef>
                <a:spcPts val="600"/>
              </a:spcBef>
              <a:buSzPct val="100000"/>
              <a:buFont typeface="Wingdings" panose="05000000000000000000" charset="0"/>
              <a:buChar char=""/>
              <a:defRPr sz="1300"/>
            </a:pPr>
            <a:r>
              <a:rPr lang="zh-CN" altLang="en-US" sz="1400" dirty="0" err="1">
                <a:solidFill>
                  <a:srgbClr val="141515"/>
                </a:solidFill>
                <a:latin typeface="微软雅黑" panose="020B0503020204020204" pitchFamily="34" charset="-122"/>
                <a:ea typeface="微软雅黑" panose="020B0503020204020204" pitchFamily="34" charset="-122"/>
              </a:rPr>
              <a:t>开角型青光眼/高眼压症，降眼压激光治疗后眼前段炎症</a:t>
            </a:r>
            <a:r>
              <a:rPr lang="en-US" altLang="zh-CN" sz="1400" dirty="0" err="1">
                <a:solidFill>
                  <a:srgbClr val="141515"/>
                </a:solidFill>
                <a:latin typeface="微软雅黑" panose="020B0503020204020204" pitchFamily="34" charset="-122"/>
                <a:ea typeface="微软雅黑" panose="020B0503020204020204" pitchFamily="34" charset="-122"/>
              </a:rPr>
              <a:t>；</a:t>
            </a:r>
            <a:endParaRPr lang="zh-CN" altLang="en-US" sz="1400" dirty="0" err="1">
              <a:solidFill>
                <a:srgbClr val="141515"/>
              </a:solidFill>
              <a:latin typeface="微软雅黑" panose="020B0503020204020204" pitchFamily="34" charset="-122"/>
              <a:ea typeface="微软雅黑" panose="020B0503020204020204" pitchFamily="34" charset="-122"/>
            </a:endParaRPr>
          </a:p>
          <a:p>
            <a:pPr marL="285750" indent="-285750" algn="just">
              <a:lnSpc>
                <a:spcPct val="120000"/>
              </a:lnSpc>
              <a:spcBef>
                <a:spcPts val="600"/>
              </a:spcBef>
              <a:buSzPct val="100000"/>
              <a:buFont typeface="Wingdings" panose="05000000000000000000" charset="0"/>
              <a:buChar char=""/>
              <a:defRPr sz="1300"/>
            </a:pPr>
            <a:r>
              <a:rPr lang="zh-CN" altLang="en-US" sz="1400" dirty="0" err="1">
                <a:solidFill>
                  <a:srgbClr val="141515"/>
                </a:solidFill>
                <a:latin typeface="微软雅黑" panose="020B0503020204020204" pitchFamily="34" charset="-122"/>
                <a:ea typeface="微软雅黑" panose="020B0503020204020204" pitchFamily="34" charset="-122"/>
              </a:rPr>
              <a:t>不建议使用或需减少使用类固醇的术后炎症控制</a:t>
            </a:r>
            <a:endParaRPr lang="zh-CN" altLang="en-US" sz="1400" dirty="0" err="1">
              <a:solidFill>
                <a:srgbClr val="141515"/>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6123794" y="4497573"/>
            <a:ext cx="5348550" cy="1692323"/>
          </a:xfrm>
          <a:prstGeom prst="rect">
            <a:avLst/>
          </a:prstGeom>
          <a:noFill/>
        </p:spPr>
        <p:txBody>
          <a:bodyPr wrap="square" rtlCol="0">
            <a:spAutoFit/>
          </a:bodyPr>
          <a:lstStyle/>
          <a:p>
            <a:pPr marL="285750" indent="-285750" algn="just">
              <a:lnSpc>
                <a:spcPct val="125000"/>
              </a:lnSpc>
              <a:spcBef>
                <a:spcPts val="600"/>
              </a:spcBef>
              <a:buClrTx/>
              <a:buSzTx/>
              <a:buFont typeface="Wingdings" panose="05000000000000000000" charset="0"/>
              <a:buChar char=""/>
              <a:defRPr sz="1300"/>
            </a:pPr>
            <a:r>
              <a:rPr lang="zh-CN" altLang="en-US" sz="1400" dirty="0" err="1">
                <a:solidFill>
                  <a:srgbClr val="141515"/>
                </a:solidFill>
                <a:latin typeface="微软雅黑" panose="020B0503020204020204" pitchFamily="34" charset="-122"/>
                <a:ea typeface="微软雅黑" panose="020B0503020204020204" pitchFamily="34" charset="-122"/>
              </a:rPr>
              <a:t>在散瞳药基础上抑制前列腺素介导的术中缩瞳，维持术中瞳孔直径和手术视野；</a:t>
            </a:r>
            <a:endParaRPr lang="zh-CN" altLang="en-US" sz="1400" dirty="0" err="1">
              <a:solidFill>
                <a:srgbClr val="141515"/>
              </a:solidFill>
              <a:latin typeface="微软雅黑" panose="020B0503020204020204" pitchFamily="34" charset="-122"/>
              <a:ea typeface="微软雅黑" panose="020B0503020204020204" pitchFamily="34" charset="-122"/>
            </a:endParaRPr>
          </a:p>
          <a:p>
            <a:pPr marL="285750" indent="-285750" algn="just">
              <a:lnSpc>
                <a:spcPct val="125000"/>
              </a:lnSpc>
              <a:spcBef>
                <a:spcPts val="600"/>
              </a:spcBef>
              <a:buClrTx/>
              <a:buSzTx/>
              <a:buFont typeface="Wingdings" panose="05000000000000000000" charset="0"/>
              <a:buChar char=""/>
              <a:defRPr sz="1300"/>
            </a:pPr>
            <a:r>
              <a:rPr lang="zh-CN" altLang="en-US" sz="1400" dirty="0" err="1">
                <a:solidFill>
                  <a:srgbClr val="141515"/>
                </a:solidFill>
                <a:latin typeface="微软雅黑" panose="020B0503020204020204" pitchFamily="34" charset="-122"/>
                <a:ea typeface="微软雅黑" panose="020B0503020204020204" pitchFamily="34" charset="-122"/>
              </a:rPr>
              <a:t>为不建议使用类固醇患者提供眼前段术后局部抗炎选择。</a:t>
            </a:r>
            <a:endParaRPr lang="zh-CN" altLang="en-US" sz="1400" dirty="0" err="1">
              <a:solidFill>
                <a:srgbClr val="141515"/>
              </a:solidFill>
              <a:latin typeface="微软雅黑" panose="020B0503020204020204" pitchFamily="34" charset="-122"/>
              <a:ea typeface="微软雅黑" panose="020B0503020204020204" pitchFamily="34" charset="-122"/>
            </a:endParaRPr>
          </a:p>
          <a:p>
            <a:pPr marL="248285" indent="-248285" algn="just">
              <a:lnSpc>
                <a:spcPct val="125000"/>
              </a:lnSpc>
              <a:spcBef>
                <a:spcPts val="600"/>
              </a:spcBef>
              <a:buSzPct val="100000"/>
              <a:buFont typeface="Wingdings" panose="05000000000000000000" pitchFamily="2" charset="2"/>
              <a:buChar char="q"/>
              <a:defRPr sz="1300"/>
            </a:pPr>
            <a:endParaRPr lang="zh-CN" altLang="en-US" sz="1200" baseline="30000" dirty="0">
              <a:latin typeface="微软雅黑" panose="020B0503020204020204" pitchFamily="34" charset="-122"/>
              <a:ea typeface="微软雅黑" panose="020B0503020204020204" pitchFamily="34" charset="-122"/>
              <a:cs typeface="微软雅黑" charset="0"/>
            </a:endParaRPr>
          </a:p>
          <a:p>
            <a:pPr marL="248285" indent="-248285" algn="just">
              <a:lnSpc>
                <a:spcPct val="125000"/>
              </a:lnSpc>
              <a:spcBef>
                <a:spcPts val="600"/>
              </a:spcBef>
              <a:buSzPct val="100000"/>
              <a:buFont typeface="Wingdings" panose="05000000000000000000" pitchFamily="2" charset="2"/>
              <a:buChar char="q"/>
              <a:defRPr sz="1300"/>
            </a:pPr>
            <a:r>
              <a:rPr lang="en-US" sz="900" dirty="0" err="1">
                <a:solidFill>
                  <a:srgbClr val="5D6874"/>
                </a:solidFill>
                <a:latin typeface="微软雅黑" panose="020B0503020204020204" pitchFamily="34" charset="-122"/>
                <a:ea typeface="微软雅黑" panose="020B0503020204020204" pitchFamily="34" charset="-122"/>
                <a:cs typeface="微软雅黑" charset="0"/>
                <a:sym typeface="+mn-ea"/>
              </a:rPr>
              <a:t>产品边界</a:t>
            </a:r>
            <a:r>
              <a:rPr lang="en-US" sz="900" dirty="0">
                <a:solidFill>
                  <a:srgbClr val="5D6874"/>
                </a:solidFill>
                <a:latin typeface="微软雅黑" panose="020B0503020204020204" pitchFamily="34" charset="-122"/>
                <a:ea typeface="微软雅黑" panose="020B0503020204020204" pitchFamily="34" charset="-122"/>
                <a:cs typeface="微软雅黑" charset="0"/>
                <a:sym typeface="+mn-ea"/>
              </a:rPr>
              <a:t>：</a:t>
            </a:r>
            <a:r>
              <a:rPr lang="zh-CN" altLang="en-US" sz="900" dirty="0">
                <a:solidFill>
                  <a:srgbClr val="5D6874"/>
                </a:solidFill>
                <a:latin typeface="微软雅黑" panose="020B0503020204020204" pitchFamily="34" charset="-122"/>
                <a:ea typeface="微软雅黑" panose="020B0503020204020204" pitchFamily="34" charset="-122"/>
                <a:cs typeface="微软雅黑" charset="0"/>
                <a:sym typeface="+mn-ea"/>
              </a:rPr>
              <a:t>不能替代散瞳药物；</a:t>
            </a:r>
            <a:endParaRPr lang="zh-CN" altLang="en-US" sz="900" dirty="0">
              <a:solidFill>
                <a:srgbClr val="5D6874"/>
              </a:solidFill>
              <a:latin typeface="微软雅黑" panose="020B0503020204020204" pitchFamily="34" charset="-122"/>
              <a:ea typeface="微软雅黑" panose="020B0503020204020204" pitchFamily="34" charset="-122"/>
              <a:cs typeface="微软雅黑" charset="0"/>
              <a:sym typeface="+mn-ea"/>
            </a:endParaRPr>
          </a:p>
          <a:p>
            <a:pPr marL="248285" indent="-248285" algn="just">
              <a:lnSpc>
                <a:spcPct val="125000"/>
              </a:lnSpc>
              <a:spcBef>
                <a:spcPts val="600"/>
              </a:spcBef>
              <a:buSzPct val="100000"/>
              <a:buFont typeface="Wingdings" panose="05000000000000000000" pitchFamily="2" charset="2"/>
              <a:buChar char="q"/>
              <a:defRPr sz="1300"/>
            </a:pPr>
            <a:r>
              <a:rPr lang="zh-CN" altLang="en-US" sz="900" dirty="0">
                <a:solidFill>
                  <a:srgbClr val="5D6874"/>
                </a:solidFill>
                <a:latin typeface="微软雅黑" panose="020B0503020204020204" pitchFamily="34" charset="-122"/>
                <a:ea typeface="微软雅黑" panose="020B0503020204020204" pitchFamily="34" charset="-122"/>
                <a:cs typeface="微软雅黑" charset="0"/>
                <a:sym typeface="+mn-ea"/>
              </a:rPr>
              <a:t>应用场景应聚焦“内眼手术术中瞳孔稳定”与“眼前段术后炎症控制”。</a:t>
            </a:r>
            <a:endParaRPr lang="zh-CN" altLang="en-US" sz="900" baseline="30000" dirty="0">
              <a:solidFill>
                <a:srgbClr val="5D6874"/>
              </a:solidFill>
              <a:latin typeface="微软雅黑" panose="020B0503020204020204" pitchFamily="34" charset="-122"/>
              <a:ea typeface="微软雅黑" panose="020B0503020204020204" pitchFamily="34" charset="-122"/>
              <a:cs typeface="微软雅黑" charset="0"/>
              <a:sym typeface="+mn-ea"/>
            </a:endParaRPr>
          </a:p>
        </p:txBody>
      </p:sp>
      <p:sp>
        <p:nvSpPr>
          <p:cNvPr id="4" name="Rectangle: Top Corners Rounded 3"/>
          <p:cNvSpPr/>
          <p:nvPr/>
        </p:nvSpPr>
        <p:spPr>
          <a:xfrm rot="5400000">
            <a:off x="-365632" y="1580599"/>
            <a:ext cx="1103563" cy="380765"/>
          </a:xfrm>
          <a:prstGeom prst="round2SameRect">
            <a:avLst>
              <a:gd name="adj1" fmla="val 44429"/>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panose="020B0503020204020204" pitchFamily="34" charset="-122"/>
                <a:ea typeface="微软雅黑" panose="020B0503020204020204" pitchFamily="34" charset="-122"/>
              </a:rPr>
              <a:t>基本信息</a:t>
            </a:r>
            <a:endParaRPr lang="zh-CN" altLang="en-US" sz="1400" b="1">
              <a:latin typeface="微软雅黑" panose="020B0503020204020204" pitchFamily="34" charset="-122"/>
              <a:ea typeface="微软雅黑" panose="020B0503020204020204" pitchFamily="34" charset="-122"/>
            </a:endParaRPr>
          </a:p>
        </p:txBody>
      </p:sp>
      <p:sp>
        <p:nvSpPr>
          <p:cNvPr id="11" name="Rectangle: Top Corners Rounded 13"/>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panose="020B0503020204020204" pitchFamily="34" charset="-122"/>
                <a:ea typeface="微软雅黑" panose="020B0503020204020204" pitchFamily="34" charset="-122"/>
              </a:rPr>
              <a:t>创新性</a:t>
            </a:r>
            <a:endParaRPr lang="zh-CN" altLang="en-US" sz="1400" b="1">
              <a:latin typeface="微软雅黑" panose="020B0503020204020204" pitchFamily="34" charset="-122"/>
              <a:ea typeface="微软雅黑" panose="020B0503020204020204" pitchFamily="34" charset="-122"/>
            </a:endParaRPr>
          </a:p>
        </p:txBody>
      </p:sp>
      <p:sp>
        <p:nvSpPr>
          <p:cNvPr id="14" name="Rectangle: Top Corners Rounded 14"/>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panose="020B0503020204020204" pitchFamily="34" charset="-122"/>
                <a:ea typeface="微软雅黑" panose="020B0503020204020204" pitchFamily="34" charset="-122"/>
              </a:rPr>
              <a:t>公平性</a:t>
            </a:r>
            <a:endParaRPr lang="zh-CN" altLang="en-US" sz="1400" b="1">
              <a:latin typeface="微软雅黑" panose="020B0503020204020204" pitchFamily="34" charset="-122"/>
              <a:ea typeface="微软雅黑" panose="020B0503020204020204" pitchFamily="34" charset="-122"/>
            </a:endParaRPr>
          </a:p>
        </p:txBody>
      </p:sp>
      <p:sp>
        <p:nvSpPr>
          <p:cNvPr id="19"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panose="020B0503020204020204" pitchFamily="34" charset="-122"/>
                <a:ea typeface="微软雅黑" panose="020B0503020204020204" pitchFamily="34" charset="-122"/>
              </a:rPr>
              <a:t>安全性</a:t>
            </a:r>
            <a:endParaRPr lang="zh-CN" altLang="en-US" sz="1400" b="1">
              <a:latin typeface="微软雅黑" panose="020B0503020204020204" pitchFamily="34" charset="-122"/>
              <a:ea typeface="微软雅黑" panose="020B0503020204020204" pitchFamily="34" charset="-122"/>
            </a:endParaRPr>
          </a:p>
        </p:txBody>
      </p:sp>
      <p:sp>
        <p:nvSpPr>
          <p:cNvPr id="20" name="Rectangle: Top Corners Rounded 40"/>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panose="020B0503020204020204" pitchFamily="34" charset="-122"/>
                <a:ea typeface="微软雅黑" panose="020B0503020204020204" pitchFamily="34" charset="-122"/>
              </a:rPr>
              <a:t>有效性</a:t>
            </a:r>
            <a:endParaRPr lang="zh-CN" altLang="en-US" sz="1400" b="1">
              <a:latin typeface="微软雅黑" panose="020B0503020204020204" pitchFamily="34" charset="-122"/>
              <a:ea typeface="微软雅黑" panose="020B0503020204020204" pitchFamily="34" charset="-122"/>
            </a:endParaRPr>
          </a:p>
        </p:txBody>
      </p:sp>
      <p:sp>
        <p:nvSpPr>
          <p:cNvPr id="18" name="Freeform: Shape 97"/>
          <p:cNvSpPr/>
          <p:nvPr/>
        </p:nvSpPr>
        <p:spPr>
          <a:xfrm>
            <a:off x="1382542" y="2173054"/>
            <a:ext cx="4183102" cy="111528"/>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5" name="Freeform: Shape 97"/>
          <p:cNvSpPr/>
          <p:nvPr/>
        </p:nvSpPr>
        <p:spPr>
          <a:xfrm>
            <a:off x="948347" y="4935836"/>
            <a:ext cx="3979044" cy="61497"/>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2</a:t>
            </a:r>
            <a:endParaRPr sz="1000" b="1">
              <a:solidFill>
                <a:schemeClr val="bg1"/>
              </a:solidFill>
            </a:endParaRPr>
          </a:p>
        </p:txBody>
      </p:sp>
      <p:sp>
        <p:nvSpPr>
          <p:cNvPr id="10" name="标题 1"/>
          <p:cNvSpPr>
            <a:spLocks noGrp="1"/>
          </p:cNvSpPr>
          <p:nvPr/>
        </p:nvSpPr>
        <p:spPr>
          <a:xfrm>
            <a:off x="370217" y="479023"/>
            <a:ext cx="11400661" cy="556260"/>
          </a:xfrm>
          <a:prstGeom prst="rect">
            <a:avLst/>
          </a:prstGeom>
        </p:spPr>
        <p:txBody>
          <a:bodyPr vert="horz" anchor="b"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indent="0" fontAlgn="auto">
              <a:lnSpc>
                <a:spcPct val="100000"/>
              </a:lnSpc>
            </a:pPr>
            <a:r>
              <a:rPr lang="zh-CN" altLang="en-US" sz="2200" dirty="0">
                <a:latin typeface="微软雅黑" panose="020B0503020204020204" pitchFamily="34" charset="-122"/>
                <a:ea typeface="微软雅黑" panose="020B0503020204020204" pitchFamily="34" charset="-122"/>
                <a:cs typeface="微软雅黑" charset="0"/>
              </a:rPr>
              <a:t>我国相关眼病患者多，内眼围术期管理需求持续增加，其中术中缩瞳抑制和术后抗炎是影响手术安全与视觉恢复的两大核心环节</a:t>
            </a:r>
            <a:endParaRPr lang="zh-CN" altLang="en-US" sz="2200" dirty="0">
              <a:latin typeface="微软雅黑" panose="020B0503020204020204" pitchFamily="34" charset="-122"/>
              <a:ea typeface="微软雅黑" panose="020B0503020204020204" pitchFamily="34" charset="-122"/>
              <a:cs typeface="微软雅黑" charset="0"/>
            </a:endParaRPr>
          </a:p>
        </p:txBody>
      </p:sp>
      <p:sp>
        <p:nvSpPr>
          <p:cNvPr id="15" name="文本框 14"/>
          <p:cNvSpPr txBox="1"/>
          <p:nvPr/>
        </p:nvSpPr>
        <p:spPr>
          <a:xfrm>
            <a:off x="767095" y="6553411"/>
            <a:ext cx="10591800" cy="245110"/>
          </a:xfrm>
          <a:prstGeom prst="rect">
            <a:avLst/>
          </a:prstGeom>
          <a:noFill/>
        </p:spPr>
        <p:txBody>
          <a:bodyPr wrap="square" rtlCol="0" anchor="t">
            <a:spAutoFit/>
          </a:bodyPr>
          <a:lstStyle/>
          <a:p>
            <a:pPr marL="0" marR="0" lvl="0" indent="0" algn="l" defTabSz="914400" rtl="0" eaLnBrk="0" fontAlgn="base" latinLnBrk="0" hangingPunct="0">
              <a:lnSpc>
                <a:spcPct val="100000"/>
              </a:lnSpc>
              <a:spcBef>
                <a:spcPct val="0"/>
              </a:spcBef>
              <a:spcAft>
                <a:spcPct val="0"/>
              </a:spcAft>
              <a:buClrTx/>
              <a:buSzTx/>
            </a:pPr>
            <a:r>
              <a:rPr lang="zh-CN" altLang="en-US"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数据来源：</a:t>
            </a:r>
            <a:r>
              <a:rPr lang="zh-CN" altLang="zh-CN"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国家卫生健康委：《“十四五”全国眼健康规划（2021–2025年）》及解读</a:t>
            </a:r>
            <a:r>
              <a:rPr lang="zh-CN" altLang="en-US"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a:t>
            </a:r>
            <a:r>
              <a:rPr lang="zh-CN" altLang="zh-CN"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中国青光眼指南（2020年）》</a:t>
            </a:r>
            <a:r>
              <a:rPr lang="zh-CN" altLang="en-US"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a:t>
            </a:r>
            <a:r>
              <a:rPr lang="zh-CN" altLang="zh-CN"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rPr>
              <a:t>《中、欧国际近视手术大数据白皮书2.0》</a:t>
            </a:r>
            <a:endParaRPr lang="zh-CN" altLang="zh-CN" sz="1000" dirty="0">
              <a:ln>
                <a:noFill/>
              </a:ln>
              <a:solidFill>
                <a:schemeClr val="bg2">
                  <a:lumMod val="50000"/>
                </a:schemeClr>
              </a:solidFill>
              <a:effectLst/>
              <a:latin typeface="微软雅黑" panose="020B0503020204020204" pitchFamily="34" charset="-122"/>
              <a:ea typeface="微软雅黑" panose="020B0503020204020204" pitchFamily="34" charset="-122"/>
              <a:cs typeface="微软雅黑" charset="0"/>
              <a:sym typeface="+mn-ea"/>
            </a:endParaRPr>
          </a:p>
        </p:txBody>
      </p:sp>
      <p:grpSp>
        <p:nvGrpSpPr>
          <p:cNvPr id="63" name="组合 62"/>
          <p:cNvGrpSpPr/>
          <p:nvPr/>
        </p:nvGrpSpPr>
        <p:grpSpPr>
          <a:xfrm>
            <a:off x="6201843" y="3385239"/>
            <a:ext cx="5270500" cy="578485"/>
            <a:chOff x="6723" y="2610"/>
            <a:chExt cx="11909" cy="1215"/>
          </a:xfrm>
        </p:grpSpPr>
        <p:sp>
          <p:nvSpPr>
            <p:cNvPr id="43" name="Shape 7"/>
            <p:cNvSpPr/>
            <p:nvPr/>
          </p:nvSpPr>
          <p:spPr>
            <a:xfrm>
              <a:off x="6723" y="2610"/>
              <a:ext cx="11909" cy="1101"/>
            </a:xfrm>
            <a:prstGeom prst="roundRect">
              <a:avLst>
                <a:gd name="adj" fmla="val 9600"/>
              </a:avLst>
            </a:prstGeom>
            <a:solidFill>
              <a:srgbClr val="FFFFFF"/>
            </a:solidFill>
            <a:ln w="6350">
              <a:solidFill>
                <a:schemeClr val="accent1">
                  <a:lumMod val="75000"/>
                </a:schemeClr>
              </a:solidFill>
              <a:prstDash val="solid"/>
            </a:ln>
          </p:spPr>
          <p:txBody>
            <a:bodyPr/>
            <a:lstStyle/>
            <a:p>
              <a:endParaRPr lang="zh-CN" altLang="en-US">
                <a:latin typeface="微软雅黑" panose="020B0503020204020204" pitchFamily="34" charset="-122"/>
                <a:ea typeface="微软雅黑" panose="020B0503020204020204" pitchFamily="34" charset="-122"/>
              </a:endParaRPr>
            </a:p>
          </p:txBody>
        </p:sp>
        <p:pic>
          <p:nvPicPr>
            <p:cNvPr id="44" name="image 706"/>
            <p:cNvPicPr>
              <a:picLocks noChangeAspect="1"/>
            </p:cNvPicPr>
            <p:nvPr/>
          </p:nvPicPr>
          <p:blipFill>
            <a:blip r:embed="rId8"/>
            <a:srcRect/>
            <a:stretch>
              <a:fillRect/>
            </a:stretch>
          </p:blipFill>
          <p:spPr>
            <a:xfrm>
              <a:off x="9214" y="3224"/>
              <a:ext cx="2897" cy="601"/>
            </a:xfrm>
            <a:prstGeom prst="rect">
              <a:avLst/>
            </a:prstGeom>
          </p:spPr>
        </p:pic>
        <p:pic>
          <p:nvPicPr>
            <p:cNvPr id="45" name="image 7010"/>
            <p:cNvPicPr>
              <a:picLocks noChangeAspect="1"/>
            </p:cNvPicPr>
            <p:nvPr/>
          </p:nvPicPr>
          <p:blipFill>
            <a:blip r:embed="rId9"/>
            <a:srcRect/>
            <a:stretch>
              <a:fillRect/>
            </a:stretch>
          </p:blipFill>
          <p:spPr>
            <a:xfrm>
              <a:off x="10931" y="2961"/>
              <a:ext cx="1365" cy="418"/>
            </a:xfrm>
            <a:prstGeom prst="rect">
              <a:avLst/>
            </a:prstGeom>
          </p:spPr>
        </p:pic>
        <p:sp>
          <p:nvSpPr>
            <p:cNvPr id="46" name="Object 7011"/>
            <p:cNvSpPr txBox="1"/>
            <p:nvPr/>
          </p:nvSpPr>
          <p:spPr>
            <a:xfrm>
              <a:off x="6937" y="3056"/>
              <a:ext cx="2323" cy="399"/>
            </a:xfrm>
            <a:prstGeom prst="rect">
              <a:avLst/>
            </a:prstGeom>
          </p:spPr>
          <p:txBody>
            <a:bodyPr vert="horz" wrap="square" lIns="0" tIns="0" rIns="0" bIns="0" rtlCol="0" anchor="t" anchorCtr="0">
              <a:noAutofit/>
            </a:bodyPr>
            <a:lstStyle/>
            <a:p>
              <a:pPr algn="ctr">
                <a:lnSpc>
                  <a:spcPct val="100000"/>
                </a:lnSpc>
              </a:pPr>
              <a:r>
                <a:rPr lang="zh-CN" sz="1200" b="0" i="0" dirty="0">
                  <a:solidFill>
                    <a:schemeClr val="tx1"/>
                  </a:solidFill>
                  <a:latin typeface="微软雅黑" panose="020B0503020204020204" pitchFamily="34" charset="-122"/>
                  <a:ea typeface="微软雅黑" panose="020B0503020204020204" pitchFamily="34" charset="-122"/>
                </a:rPr>
                <a:t>术野变窄</a:t>
              </a:r>
              <a:endParaRPr lang="zh-CN" sz="1200" b="0" i="0" dirty="0">
                <a:solidFill>
                  <a:schemeClr val="tx1"/>
                </a:solidFill>
                <a:latin typeface="微软雅黑" panose="020B0503020204020204" pitchFamily="34" charset="-122"/>
                <a:ea typeface="微软雅黑" panose="020B0503020204020204" pitchFamily="34" charset="-122"/>
              </a:endParaRPr>
            </a:p>
          </p:txBody>
        </p:sp>
        <p:pic>
          <p:nvPicPr>
            <p:cNvPr id="47" name="image 7013"/>
            <p:cNvPicPr>
              <a:picLocks noChangeAspect="1"/>
            </p:cNvPicPr>
            <p:nvPr/>
          </p:nvPicPr>
          <p:blipFill>
            <a:blip r:embed="rId9"/>
            <a:srcRect/>
            <a:stretch>
              <a:fillRect/>
            </a:stretch>
          </p:blipFill>
          <p:spPr>
            <a:xfrm>
              <a:off x="13023" y="2961"/>
              <a:ext cx="1365" cy="418"/>
            </a:xfrm>
            <a:prstGeom prst="rect">
              <a:avLst/>
            </a:prstGeom>
          </p:spPr>
        </p:pic>
        <p:sp>
          <p:nvSpPr>
            <p:cNvPr id="50" name="Object 7014"/>
            <p:cNvSpPr txBox="1"/>
            <p:nvPr/>
          </p:nvSpPr>
          <p:spPr>
            <a:xfrm>
              <a:off x="9666" y="3052"/>
              <a:ext cx="2282" cy="437"/>
            </a:xfrm>
            <a:prstGeom prst="rect">
              <a:avLst/>
            </a:prstGeom>
          </p:spPr>
          <p:txBody>
            <a:bodyPr vert="horz" wrap="square" lIns="0" tIns="0" rIns="0" bIns="0" rtlCol="0" anchor="t" anchorCtr="0">
              <a:noAutofit/>
            </a:bodyPr>
            <a:lstStyle/>
            <a:p>
              <a:pPr algn="ctr">
                <a:lnSpc>
                  <a:spcPct val="100000"/>
                </a:lnSpc>
              </a:pPr>
              <a:r>
                <a:rPr lang="zh-CN" sz="1200" b="0" i="0" dirty="0">
                  <a:solidFill>
                    <a:schemeClr val="tx1"/>
                  </a:solidFill>
                  <a:latin typeface="微软雅黑" panose="020B0503020204020204" pitchFamily="34" charset="-122"/>
                  <a:ea typeface="微软雅黑" panose="020B0503020204020204" pitchFamily="34" charset="-122"/>
                </a:rPr>
                <a:t>手术难度增加</a:t>
              </a:r>
              <a:endParaRPr lang="zh-CN" sz="1200" b="0" i="0" dirty="0">
                <a:solidFill>
                  <a:schemeClr val="tx1"/>
                </a:solidFill>
                <a:latin typeface="微软雅黑" panose="020B0503020204020204" pitchFamily="34" charset="-122"/>
                <a:ea typeface="微软雅黑" panose="020B0503020204020204" pitchFamily="34" charset="-122"/>
              </a:endParaRPr>
            </a:p>
          </p:txBody>
        </p:sp>
        <p:pic>
          <p:nvPicPr>
            <p:cNvPr id="51" name="image 7017"/>
            <p:cNvPicPr>
              <a:picLocks noChangeAspect="1"/>
            </p:cNvPicPr>
            <p:nvPr/>
          </p:nvPicPr>
          <p:blipFill>
            <a:blip r:embed="rId9"/>
            <a:srcRect/>
            <a:stretch>
              <a:fillRect/>
            </a:stretch>
          </p:blipFill>
          <p:spPr>
            <a:xfrm>
              <a:off x="15115" y="2961"/>
              <a:ext cx="1365" cy="418"/>
            </a:xfrm>
            <a:prstGeom prst="rect">
              <a:avLst/>
            </a:prstGeom>
          </p:spPr>
        </p:pic>
        <p:sp>
          <p:nvSpPr>
            <p:cNvPr id="52" name="Object 7018"/>
            <p:cNvSpPr txBox="1"/>
            <p:nvPr/>
          </p:nvSpPr>
          <p:spPr>
            <a:xfrm>
              <a:off x="12541" y="3035"/>
              <a:ext cx="2283" cy="475"/>
            </a:xfrm>
            <a:prstGeom prst="rect">
              <a:avLst/>
            </a:prstGeom>
          </p:spPr>
          <p:txBody>
            <a:bodyPr vert="horz" wrap="square" lIns="0" tIns="0" rIns="0" bIns="0" rtlCol="0" anchor="t" anchorCtr="0">
              <a:noAutofit/>
            </a:bodyPr>
            <a:lstStyle/>
            <a:p>
              <a:pPr algn="ctr">
                <a:lnSpc>
                  <a:spcPct val="100000"/>
                </a:lnSpc>
              </a:pPr>
              <a:r>
                <a:rPr lang="zh-CN" sz="1200" b="0" i="0" dirty="0">
                  <a:solidFill>
                    <a:schemeClr val="tx1"/>
                  </a:solidFill>
                  <a:latin typeface="微软雅黑" panose="020B0503020204020204" pitchFamily="34" charset="-122"/>
                  <a:ea typeface="微软雅黑" panose="020B0503020204020204" pitchFamily="34" charset="-122"/>
                </a:rPr>
                <a:t>并发症增加</a:t>
              </a:r>
              <a:endParaRPr lang="zh-CN" sz="1200" b="0" i="0" dirty="0">
                <a:solidFill>
                  <a:schemeClr val="tx1"/>
                </a:solidFill>
                <a:latin typeface="微软雅黑" panose="020B0503020204020204" pitchFamily="34" charset="-122"/>
                <a:ea typeface="微软雅黑" panose="020B0503020204020204" pitchFamily="34" charset="-122"/>
              </a:endParaRPr>
            </a:p>
          </p:txBody>
        </p:sp>
        <p:pic>
          <p:nvPicPr>
            <p:cNvPr id="53" name="image 7021"/>
            <p:cNvPicPr>
              <a:picLocks noChangeAspect="1"/>
            </p:cNvPicPr>
            <p:nvPr/>
          </p:nvPicPr>
          <p:blipFill>
            <a:blip r:embed="rId9"/>
            <a:srcRect/>
            <a:stretch>
              <a:fillRect/>
            </a:stretch>
          </p:blipFill>
          <p:spPr>
            <a:xfrm>
              <a:off x="16922" y="2961"/>
              <a:ext cx="1365" cy="418"/>
            </a:xfrm>
            <a:prstGeom prst="rect">
              <a:avLst/>
            </a:prstGeom>
          </p:spPr>
        </p:pic>
        <p:sp>
          <p:nvSpPr>
            <p:cNvPr id="59" name="Object 7022"/>
            <p:cNvSpPr txBox="1"/>
            <p:nvPr/>
          </p:nvSpPr>
          <p:spPr>
            <a:xfrm>
              <a:off x="15580" y="3033"/>
              <a:ext cx="2630" cy="479"/>
            </a:xfrm>
            <a:prstGeom prst="rect">
              <a:avLst/>
            </a:prstGeom>
          </p:spPr>
          <p:txBody>
            <a:bodyPr vert="horz" wrap="square" lIns="0" tIns="0" rIns="0" bIns="0" rtlCol="0" anchor="t" anchorCtr="0">
              <a:noAutofit/>
            </a:bodyPr>
            <a:lstStyle/>
            <a:p>
              <a:pPr algn="ctr">
                <a:lnSpc>
                  <a:spcPct val="100000"/>
                </a:lnSpc>
              </a:pPr>
              <a:r>
                <a:rPr lang="zh-CN" sz="1200" b="0" i="0" dirty="0">
                  <a:solidFill>
                    <a:schemeClr val="tx1"/>
                  </a:solidFill>
                  <a:latin typeface="微软雅黑" panose="020B0503020204020204" pitchFamily="34" charset="-122"/>
                  <a:ea typeface="微软雅黑" panose="020B0503020204020204" pitchFamily="34" charset="-122"/>
                </a:rPr>
                <a:t>视觉恢复受影响</a:t>
              </a:r>
              <a:endParaRPr lang="zh-CN" sz="1200" b="0" i="0" dirty="0">
                <a:solidFill>
                  <a:schemeClr val="tx1"/>
                </a:solidFill>
                <a:latin typeface="微软雅黑" panose="020B0503020204020204" pitchFamily="34" charset="-122"/>
                <a:ea typeface="微软雅黑" panose="020B0503020204020204" pitchFamily="34" charset="-122"/>
              </a:endParaRPr>
            </a:p>
          </p:txBody>
        </p:sp>
        <p:cxnSp>
          <p:nvCxnSpPr>
            <p:cNvPr id="60" name="直接箭头连接符 59"/>
            <p:cNvCxnSpPr/>
            <p:nvPr/>
          </p:nvCxnSpPr>
          <p:spPr>
            <a:xfrm>
              <a:off x="8973" y="3224"/>
              <a:ext cx="702" cy="0"/>
            </a:xfrm>
            <a:prstGeom prst="straightConnector1">
              <a:avLst/>
            </a:prstGeom>
            <a:ln w="31750" cap="rnd">
              <a:solidFill>
                <a:schemeClr val="accent1"/>
              </a:solidFill>
              <a:round/>
              <a:tailEnd type="arrow" w="med" len="med"/>
            </a:ln>
          </p:spPr>
          <p:style>
            <a:lnRef idx="0">
              <a:srgbClr val="FFFFFF"/>
            </a:lnRef>
            <a:fillRef idx="0">
              <a:srgbClr val="FFFFFF"/>
            </a:fillRef>
            <a:effectRef idx="0">
              <a:srgbClr val="FFFFFF"/>
            </a:effectRef>
            <a:fontRef idx="minor">
              <a:schemeClr val="tx1"/>
            </a:fontRef>
          </p:style>
        </p:cxnSp>
        <p:cxnSp>
          <p:nvCxnSpPr>
            <p:cNvPr id="61" name="直接箭头连接符 60"/>
            <p:cNvCxnSpPr/>
            <p:nvPr/>
          </p:nvCxnSpPr>
          <p:spPr>
            <a:xfrm>
              <a:off x="11937" y="3210"/>
              <a:ext cx="634" cy="0"/>
            </a:xfrm>
            <a:prstGeom prst="straightConnector1">
              <a:avLst/>
            </a:prstGeom>
            <a:ln w="31750" cap="rnd">
              <a:solidFill>
                <a:schemeClr val="accent1"/>
              </a:solidFill>
              <a:round/>
              <a:tailEnd type="arrow" w="med" len="med"/>
            </a:ln>
          </p:spPr>
          <p:style>
            <a:lnRef idx="0">
              <a:srgbClr val="FFFFFF"/>
            </a:lnRef>
            <a:fillRef idx="0">
              <a:srgbClr val="FFFFFF"/>
            </a:fillRef>
            <a:effectRef idx="0">
              <a:srgbClr val="FFFFFF"/>
            </a:effectRef>
            <a:fontRef idx="minor">
              <a:schemeClr val="tx1"/>
            </a:fontRef>
          </p:style>
        </p:cxnSp>
        <p:cxnSp>
          <p:nvCxnSpPr>
            <p:cNvPr id="62" name="直接箭头连接符 61"/>
            <p:cNvCxnSpPr/>
            <p:nvPr/>
          </p:nvCxnSpPr>
          <p:spPr>
            <a:xfrm>
              <a:off x="14786" y="3227"/>
              <a:ext cx="717" cy="0"/>
            </a:xfrm>
            <a:prstGeom prst="straightConnector1">
              <a:avLst/>
            </a:prstGeom>
            <a:ln w="31750" cap="rnd">
              <a:solidFill>
                <a:schemeClr val="accent1"/>
              </a:solidFill>
              <a:round/>
              <a:tailEnd type="arrow" w="med" len="med"/>
            </a:ln>
          </p:spPr>
          <p:style>
            <a:lnRef idx="0">
              <a:srgbClr val="FFFFFF"/>
            </a:lnRef>
            <a:fillRef idx="0">
              <a:srgbClr val="FFFFFF"/>
            </a:fillRef>
            <a:effectRef idx="0">
              <a:srgbClr val="FFFFFF"/>
            </a:effectRef>
            <a:fontRef idx="minor">
              <a:schemeClr val="tx1"/>
            </a:fontRef>
          </p:style>
        </p:cxnSp>
      </p:grpSp>
      <p:sp>
        <p:nvSpPr>
          <p:cNvPr id="3" name="文本框 2"/>
          <p:cNvSpPr txBox="1"/>
          <p:nvPr/>
        </p:nvSpPr>
        <p:spPr>
          <a:xfrm>
            <a:off x="783533" y="2385852"/>
            <a:ext cx="4752000" cy="2138662"/>
          </a:xfrm>
          <a:prstGeom prst="rect">
            <a:avLst/>
          </a:prstGeom>
          <a:noFill/>
        </p:spPr>
        <p:txBody>
          <a:bodyPr wrap="square">
            <a:spAutoFit/>
          </a:bodyPr>
          <a:lstStyle/>
          <a:p>
            <a:pPr marL="285750" indent="-285750">
              <a:lnSpc>
                <a:spcPct val="120000"/>
              </a:lnSpc>
              <a:buFont typeface="Wingdings" panose="05000000000000000000" charset="0"/>
              <a:buChar char=""/>
            </a:pPr>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白内障</a:t>
            </a:r>
            <a:endParaRPr lang="en-US" altLang="zh-CN" sz="1400" b="1" dirty="0">
              <a:solidFill>
                <a:schemeClr val="accent1">
                  <a:lumMod val="60000"/>
                  <a:lumOff val="40000"/>
                </a:schemeClr>
              </a:solidFill>
              <a:latin typeface="微软雅黑" panose="020B0503020204020204" pitchFamily="34" charset="-122"/>
              <a:ea typeface="微软雅黑" panose="020B0503020204020204" pitchFamily="34" charset="-122"/>
            </a:endParaRPr>
          </a:p>
          <a:p>
            <a:pPr marL="285750" indent="-285750" algn="just">
              <a:lnSpc>
                <a:spcPct val="120000"/>
              </a:lnSpc>
              <a:buFont typeface="Arial" panose="020B0604020202090204" pitchFamily="34" charset="0"/>
              <a:buChar char="•"/>
            </a:pPr>
            <a:r>
              <a:rPr lang="zh-CN" altLang="en-US" sz="1400" dirty="0">
                <a:latin typeface="微软雅黑" panose="020B0503020204020204" pitchFamily="34" charset="-122"/>
                <a:ea typeface="微软雅黑" panose="020B0503020204020204" pitchFamily="34" charset="-122"/>
              </a:rPr>
              <a:t>随着人口老龄化加速，我国白内障发病人数在逐渐增加。</a:t>
            </a:r>
            <a:endParaRPr lang="en-US" altLang="zh-CN" sz="1400" dirty="0">
              <a:latin typeface="微软雅黑" panose="020B0503020204020204" pitchFamily="34" charset="-122"/>
              <a:ea typeface="微软雅黑" panose="020B0503020204020204" pitchFamily="34" charset="-122"/>
            </a:endParaRPr>
          </a:p>
          <a:p>
            <a:pPr marL="285750" indent="-285750" algn="just">
              <a:lnSpc>
                <a:spcPct val="120000"/>
              </a:lnSpc>
              <a:buFont typeface="Arial" panose="020B0604020202090204" pitchFamily="34" charset="0"/>
              <a:buChar char="•"/>
            </a:pPr>
            <a:r>
              <a:rPr lang="zh-CN" altLang="en-US" sz="1400" dirty="0">
                <a:latin typeface="微软雅黑" panose="020B0503020204020204" pitchFamily="34" charset="-122"/>
                <a:ea typeface="微软雅黑" panose="020B0503020204020204" pitchFamily="34" charset="-122"/>
              </a:rPr>
              <a:t>据统计，我国</a:t>
            </a:r>
            <a:r>
              <a:rPr lang="en-US" altLang="zh-CN" sz="1400" dirty="0">
                <a:latin typeface="微软雅黑" panose="020B0503020204020204" pitchFamily="34" charset="-122"/>
                <a:ea typeface="微软雅黑" panose="020B0503020204020204" pitchFamily="34" charset="-122"/>
              </a:rPr>
              <a:t>60</a:t>
            </a:r>
            <a:r>
              <a:rPr lang="zh-CN" altLang="en-US" sz="1400" dirty="0">
                <a:latin typeface="微软雅黑" panose="020B0503020204020204" pitchFamily="34" charset="-122"/>
                <a:ea typeface="微软雅黑" panose="020B0503020204020204" pitchFamily="34" charset="-122"/>
              </a:rPr>
              <a:t>岁至</a:t>
            </a:r>
            <a:r>
              <a:rPr lang="en-US" altLang="zh-CN" sz="1400" dirty="0">
                <a:latin typeface="微软雅黑" panose="020B0503020204020204" pitchFamily="34" charset="-122"/>
                <a:ea typeface="微软雅黑" panose="020B0503020204020204" pitchFamily="34" charset="-122"/>
              </a:rPr>
              <a:t>89</a:t>
            </a:r>
            <a:r>
              <a:rPr lang="zh-CN" altLang="en-US" sz="1400" dirty="0">
                <a:latin typeface="微软雅黑" panose="020B0503020204020204" pitchFamily="34" charset="-122"/>
                <a:ea typeface="微软雅黑" panose="020B0503020204020204" pitchFamily="34" charset="-122"/>
              </a:rPr>
              <a:t>岁人群白内障发病率高达</a:t>
            </a:r>
            <a:r>
              <a:rPr lang="en-US" altLang="zh-CN" sz="1400" dirty="0">
                <a:latin typeface="微软雅黑" panose="020B0503020204020204" pitchFamily="34" charset="-122"/>
                <a:ea typeface="微软雅黑" panose="020B0503020204020204" pitchFamily="34" charset="-122"/>
              </a:rPr>
              <a:t>80%</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90</a:t>
            </a:r>
            <a:r>
              <a:rPr lang="zh-CN" altLang="en-US" sz="1400" dirty="0">
                <a:latin typeface="微软雅黑" panose="020B0503020204020204" pitchFamily="34" charset="-122"/>
                <a:ea typeface="微软雅黑" panose="020B0503020204020204" pitchFamily="34" charset="-122"/>
              </a:rPr>
              <a:t>岁以上人群白内障发病率达到</a:t>
            </a:r>
            <a:r>
              <a:rPr lang="en-US" altLang="zh-CN" sz="1400" dirty="0">
                <a:latin typeface="微软雅黑" panose="020B0503020204020204" pitchFamily="34" charset="-122"/>
                <a:ea typeface="微软雅黑" panose="020B0503020204020204" pitchFamily="34" charset="-122"/>
              </a:rPr>
              <a:t>90%</a:t>
            </a:r>
            <a:r>
              <a:rPr lang="zh-CN" altLang="en-US" sz="1400" dirty="0">
                <a:latin typeface="微软雅黑" panose="020B0503020204020204" pitchFamily="34" charset="-122"/>
                <a:ea typeface="微软雅黑" panose="020B0503020204020204" pitchFamily="34" charset="-122"/>
              </a:rPr>
              <a:t>以上。</a:t>
            </a:r>
            <a:endParaRPr lang="en-US" altLang="zh-CN" sz="1400" dirty="0">
              <a:latin typeface="微软雅黑" panose="020B0503020204020204" pitchFamily="34" charset="-122"/>
              <a:ea typeface="微软雅黑" panose="020B0503020204020204" pitchFamily="34" charset="-122"/>
            </a:endParaRPr>
          </a:p>
          <a:p>
            <a:pPr marL="285750" indent="-285750">
              <a:lnSpc>
                <a:spcPct val="120000"/>
              </a:lnSpc>
              <a:buFont typeface="Wingdings" panose="05000000000000000000" charset="0"/>
              <a:buChar char=""/>
            </a:pPr>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青光眼</a:t>
            </a:r>
            <a:endParaRPr lang="en-US" altLang="zh-CN" sz="1400" b="1" dirty="0">
              <a:solidFill>
                <a:schemeClr val="accent1">
                  <a:lumMod val="60000"/>
                  <a:lumOff val="40000"/>
                </a:schemeClr>
              </a:solidFill>
              <a:latin typeface="微软雅黑" panose="020B0503020204020204" pitchFamily="34" charset="-122"/>
              <a:ea typeface="微软雅黑" panose="020B0503020204020204" pitchFamily="34" charset="-122"/>
            </a:endParaRPr>
          </a:p>
          <a:p>
            <a:pPr marL="285750" indent="-285750" algn="just">
              <a:lnSpc>
                <a:spcPct val="120000"/>
              </a:lnSpc>
              <a:buFont typeface="Arial" panose="020B0604020202090204" pitchFamily="34" charset="0"/>
              <a:buChar char="•"/>
            </a:pPr>
            <a:r>
              <a:rPr lang="zh-CN" altLang="en-US" sz="1400" dirty="0">
                <a:latin typeface="微软雅黑" panose="020B0503020204020204" pitchFamily="34" charset="-122"/>
                <a:ea typeface="微软雅黑" panose="020B0503020204020204" pitchFamily="34" charset="-122"/>
              </a:rPr>
              <a:t>我国人群青光眼患病率达</a:t>
            </a:r>
            <a:r>
              <a:rPr lang="en-US" altLang="zh-CN" sz="1400" dirty="0">
                <a:latin typeface="微软雅黑" panose="020B0503020204020204" pitchFamily="34" charset="-122"/>
                <a:ea typeface="微软雅黑" panose="020B0503020204020204" pitchFamily="34" charset="-122"/>
              </a:rPr>
              <a:t>2.58%</a:t>
            </a:r>
            <a:r>
              <a:rPr lang="zh-CN" altLang="en-US" sz="1400" dirty="0">
                <a:latin typeface="微软雅黑" panose="020B0503020204020204" pitchFamily="34" charset="-122"/>
                <a:ea typeface="微软雅黑" panose="020B0503020204020204" pitchFamily="34" charset="-122"/>
              </a:rPr>
              <a:t>，约占世界青光眼患者的四分之一，</a:t>
            </a:r>
            <a:r>
              <a:rPr lang="en-US" altLang="zh-CN" sz="1400" dirty="0">
                <a:latin typeface="微软雅黑" panose="020B0503020204020204" pitchFamily="34" charset="-122"/>
                <a:ea typeface="微软雅黑" panose="020B0503020204020204" pitchFamily="34" charset="-122"/>
              </a:rPr>
              <a:t>2020</a:t>
            </a:r>
            <a:r>
              <a:rPr lang="zh-CN" altLang="en-US" sz="1400" dirty="0">
                <a:latin typeface="微软雅黑" panose="020B0503020204020204" pitchFamily="34" charset="-122"/>
                <a:ea typeface="微软雅黑" panose="020B0503020204020204" pitchFamily="34" charset="-122"/>
              </a:rPr>
              <a:t>年我国青光眼患者估算约</a:t>
            </a:r>
            <a:r>
              <a:rPr lang="en-US" altLang="zh-CN" sz="1400" dirty="0">
                <a:latin typeface="微软雅黑" panose="020B0503020204020204" pitchFamily="34" charset="-122"/>
                <a:ea typeface="微软雅黑" panose="020B0503020204020204" pitchFamily="34" charset="-122"/>
              </a:rPr>
              <a:t>2100</a:t>
            </a:r>
            <a:r>
              <a:rPr lang="zh-CN" altLang="en-US" sz="1400" dirty="0">
                <a:latin typeface="微软雅黑" panose="020B0503020204020204" pitchFamily="34" charset="-122"/>
                <a:ea typeface="微软雅黑" panose="020B0503020204020204" pitchFamily="34" charset="-122"/>
              </a:rPr>
              <a:t>万。</a:t>
            </a:r>
            <a:endParaRPr lang="en-US" altLang="zh-CN" sz="1400" dirty="0">
              <a:latin typeface="微软雅黑" panose="020B0503020204020204" pitchFamily="34" charset="-122"/>
              <a:ea typeface="微软雅黑" panose="020B0503020204020204" pitchFamily="34" charset="-122"/>
            </a:endParaRPr>
          </a:p>
          <a:p>
            <a:pPr marL="285750" indent="-285750" algn="just">
              <a:lnSpc>
                <a:spcPct val="120000"/>
              </a:lnSpc>
              <a:buFont typeface="Arial" panose="020B0604020202090204" pitchFamily="34" charset="0"/>
              <a:buChar char="•"/>
            </a:pPr>
            <a:r>
              <a:rPr lang="zh-CN" altLang="en-US" sz="1400" dirty="0">
                <a:latin typeface="微软雅黑" panose="020B0503020204020204" pitchFamily="34" charset="-122"/>
                <a:ea typeface="微软雅黑" panose="020B0503020204020204" pitchFamily="34" charset="-122"/>
              </a:rPr>
              <a:t>约</a:t>
            </a:r>
            <a:r>
              <a:rPr lang="en-US" altLang="zh-CN" sz="1400" dirty="0">
                <a:latin typeface="微软雅黑" panose="020B0503020204020204" pitchFamily="34" charset="-122"/>
                <a:ea typeface="微软雅黑" panose="020B0503020204020204" pitchFamily="34" charset="-122"/>
              </a:rPr>
              <a:t>90% </a:t>
            </a:r>
            <a:r>
              <a:rPr lang="zh-CN" altLang="en-US" sz="1400" dirty="0">
                <a:latin typeface="微软雅黑" panose="020B0503020204020204" pitchFamily="34" charset="-122"/>
                <a:ea typeface="微软雅黑" panose="020B0503020204020204" pitchFamily="34" charset="-122"/>
              </a:rPr>
              <a:t>的青光眼患者未能得到及时诊断</a:t>
            </a:r>
            <a:endParaRPr lang="zh-CN" altLang="en-US" sz="1400" dirty="0">
              <a:latin typeface="微软雅黑" panose="020B0503020204020204" pitchFamily="34" charset="-122"/>
              <a:ea typeface="微软雅黑" panose="020B0503020204020204" pitchFamily="34" charset="-122"/>
            </a:endParaRPr>
          </a:p>
        </p:txBody>
      </p:sp>
      <p:sp>
        <p:nvSpPr>
          <p:cNvPr id="13" name="文本框 12"/>
          <p:cNvSpPr txBox="1"/>
          <p:nvPr/>
        </p:nvSpPr>
        <p:spPr>
          <a:xfrm>
            <a:off x="936781" y="4585064"/>
            <a:ext cx="4164989" cy="344710"/>
          </a:xfrm>
          <a:prstGeom prst="rect">
            <a:avLst/>
          </a:prstGeom>
          <a:noFill/>
        </p:spPr>
        <p:txBody>
          <a:bodyPr wrap="square" rtlCol="0">
            <a:spAutoFit/>
          </a:bodyPr>
          <a:lstStyle/>
          <a:p>
            <a:pPr>
              <a:lnSpc>
                <a:spcPct val="130000"/>
              </a:lnSpc>
            </a:pPr>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内眼手术需求量持续增长，手术管理负担沉重</a:t>
            </a:r>
            <a:endParaRPr lang="en-US" sz="14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16" name="文本框 15"/>
          <p:cNvSpPr txBox="1"/>
          <p:nvPr/>
        </p:nvSpPr>
        <p:spPr>
          <a:xfrm>
            <a:off x="767095" y="4974010"/>
            <a:ext cx="4825820" cy="1363065"/>
          </a:xfrm>
          <a:prstGeom prst="rect">
            <a:avLst/>
          </a:prstGeom>
          <a:noFill/>
        </p:spPr>
        <p:txBody>
          <a:bodyPr wrap="square">
            <a:spAutoFit/>
          </a:bodyPr>
          <a:lstStyle/>
          <a:p>
            <a:pPr marL="285750" indent="-285750">
              <a:lnSpc>
                <a:spcPct val="120000"/>
              </a:lnSpc>
              <a:buFont typeface="Arial" panose="020B0604020202090204" pitchFamily="34" charset="0"/>
              <a:buChar char="•"/>
            </a:pPr>
            <a:r>
              <a:rPr lang="en-US" altLang="zh-CN" sz="1400" dirty="0">
                <a:latin typeface="微软雅黑" panose="020B0503020204020204" pitchFamily="34" charset="-122"/>
                <a:ea typeface="微软雅黑" panose="020B0503020204020204" pitchFamily="34" charset="-122"/>
              </a:rPr>
              <a:t>2020</a:t>
            </a:r>
            <a:r>
              <a:rPr lang="zh-CN" altLang="en-US" sz="1400" dirty="0">
                <a:latin typeface="微软雅黑" panose="020B0503020204020204" pitchFamily="34" charset="-122"/>
                <a:ea typeface="微软雅黑" panose="020B0503020204020204" pitchFamily="34" charset="-122"/>
              </a:rPr>
              <a:t>年我国白内障手术率已超过</a:t>
            </a:r>
            <a:r>
              <a:rPr lang="en-US" altLang="zh-CN" sz="1400" dirty="0">
                <a:latin typeface="微软雅黑" panose="020B0503020204020204" pitchFamily="34" charset="-122"/>
                <a:ea typeface="微软雅黑" panose="020B0503020204020204" pitchFamily="34" charset="-122"/>
              </a:rPr>
              <a:t>3000</a:t>
            </a:r>
            <a:r>
              <a:rPr lang="zh-CN" altLang="en-US" sz="1400" dirty="0">
                <a:latin typeface="微软雅黑" panose="020B0503020204020204" pitchFamily="34" charset="-122"/>
                <a:ea typeface="微软雅黑" panose="020B0503020204020204" pitchFamily="34" charset="-122"/>
              </a:rPr>
              <a:t>例</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百万人口，年手术需求约</a:t>
            </a:r>
            <a:r>
              <a:rPr lang="en-US" altLang="zh-CN" sz="1400" dirty="0">
                <a:latin typeface="微软雅黑" panose="020B0503020204020204" pitchFamily="34" charset="-122"/>
                <a:ea typeface="微软雅黑" panose="020B0503020204020204" pitchFamily="34" charset="-122"/>
              </a:rPr>
              <a:t>500</a:t>
            </a:r>
            <a:r>
              <a:rPr lang="zh-CN" altLang="en-US" sz="1400" dirty="0">
                <a:latin typeface="微软雅黑" panose="020B0503020204020204" pitchFamily="34" charset="-122"/>
                <a:ea typeface="微软雅黑" panose="020B0503020204020204" pitchFamily="34" charset="-122"/>
              </a:rPr>
              <a:t>万例；约</a:t>
            </a:r>
            <a:r>
              <a:rPr lang="en-US" altLang="zh-CN" sz="1400" dirty="0">
                <a:latin typeface="微软雅黑" panose="020B0503020204020204" pitchFamily="34" charset="-122"/>
                <a:ea typeface="微软雅黑" panose="020B0503020204020204" pitchFamily="34" charset="-122"/>
              </a:rPr>
              <a:t>65%-70%</a:t>
            </a:r>
            <a:r>
              <a:rPr lang="zh-CN" altLang="en-US" sz="1400" dirty="0">
                <a:latin typeface="微软雅黑" panose="020B0503020204020204" pitchFamily="34" charset="-122"/>
                <a:ea typeface="微软雅黑" panose="020B0503020204020204" pitchFamily="34" charset="-122"/>
              </a:rPr>
              <a:t>青光眼患者最终会接受手术治疗。</a:t>
            </a:r>
            <a:endParaRPr lang="en-US" altLang="zh-CN" sz="1400" dirty="0">
              <a:latin typeface="微软雅黑" panose="020B0503020204020204" pitchFamily="34" charset="-122"/>
              <a:ea typeface="微软雅黑" panose="020B0503020204020204" pitchFamily="34" charset="-122"/>
            </a:endParaRPr>
          </a:p>
          <a:p>
            <a:pPr marL="285750" indent="-285750">
              <a:lnSpc>
                <a:spcPct val="120000"/>
              </a:lnSpc>
              <a:buFont typeface="Arial" panose="020B0604020202090204" pitchFamily="34" charset="0"/>
              <a:buChar char="•"/>
            </a:pPr>
            <a:r>
              <a:rPr lang="zh-CN" altLang="en-US" sz="1400" dirty="0">
                <a:latin typeface="微软雅黑" panose="020B0503020204020204" pitchFamily="34" charset="-122"/>
                <a:ea typeface="微软雅黑" panose="020B0503020204020204" pitchFamily="34" charset="-122"/>
              </a:rPr>
              <a:t>屈光、角膜、眼表等手术量持续增长，术后均存在不同程度</a:t>
            </a:r>
            <a:r>
              <a:rPr lang="zh-CN" altLang="en-US" sz="1400" b="1" dirty="0">
                <a:solidFill>
                  <a:srgbClr val="C00000"/>
                </a:solidFill>
                <a:latin typeface="微软雅黑" panose="020B0503020204020204" pitchFamily="34" charset="-122"/>
                <a:ea typeface="微软雅黑" panose="020B0503020204020204" pitchFamily="34" charset="-122"/>
              </a:rPr>
              <a:t>眼前段炎症管理需求</a:t>
            </a:r>
            <a:r>
              <a:rPr lang="zh-CN" altLang="en-US" sz="1200" b="1" dirty="0">
                <a:solidFill>
                  <a:srgbClr val="141515"/>
                </a:solidFill>
                <a:latin typeface="微软雅黑" panose="020B0503020204020204" pitchFamily="34" charset="-122"/>
                <a:ea typeface="微软雅黑" panose="020B0503020204020204" pitchFamily="34" charset="-122"/>
              </a:rPr>
              <a:t>。</a:t>
            </a:r>
            <a:endParaRPr lang="zh-CN" altLang="en-US" sz="1200" b="1" dirty="0">
              <a:solidFill>
                <a:srgbClr val="141515"/>
              </a:solidFill>
              <a:latin typeface="微软雅黑" panose="020B0503020204020204" pitchFamily="34" charset="-122"/>
              <a:ea typeface="微软雅黑" panose="020B0503020204020204" pitchFamily="34" charset="-122"/>
            </a:endParaRPr>
          </a:p>
        </p:txBody>
      </p:sp>
      <p:sp>
        <p:nvSpPr>
          <p:cNvPr id="17" name="Flowchart: Connector 40"/>
          <p:cNvSpPr/>
          <p:nvPr/>
        </p:nvSpPr>
        <p:spPr>
          <a:xfrm>
            <a:off x="6201843" y="1902130"/>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1</a:t>
            </a:r>
            <a:endParaRPr lang="en-GB" sz="1400" b="1" dirty="0">
              <a:latin typeface="微软雅黑" panose="020B0503020204020204" pitchFamily="34" charset="-122"/>
              <a:ea typeface="微软雅黑" panose="020B0503020204020204" pitchFamily="34" charset="-122"/>
            </a:endParaRPr>
          </a:p>
        </p:txBody>
      </p:sp>
      <p:sp>
        <p:nvSpPr>
          <p:cNvPr id="22" name="文本框 21"/>
          <p:cNvSpPr txBox="1"/>
          <p:nvPr/>
        </p:nvSpPr>
        <p:spPr>
          <a:xfrm>
            <a:off x="6478631" y="1879644"/>
            <a:ext cx="4970309" cy="307777"/>
          </a:xfrm>
          <a:prstGeom prst="rect">
            <a:avLst/>
          </a:prstGeom>
          <a:noFill/>
        </p:spPr>
        <p:txBody>
          <a:bodyPr wrap="square" rtlCol="0">
            <a:spAutoFit/>
          </a:bodyPr>
          <a:lstStyle/>
          <a:p>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手术应用场景</a:t>
            </a:r>
            <a:endPar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23" name="Flowchart: Connector 40"/>
          <p:cNvSpPr/>
          <p:nvPr/>
        </p:nvSpPr>
        <p:spPr>
          <a:xfrm>
            <a:off x="6141438" y="4110418"/>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微软雅黑" panose="020B0503020204020204" pitchFamily="34" charset="-122"/>
                <a:ea typeface="微软雅黑" panose="020B0503020204020204" pitchFamily="34" charset="-122"/>
              </a:rPr>
              <a:t>2</a:t>
            </a:r>
            <a:endParaRPr lang="en-GB" sz="1400" b="1" dirty="0">
              <a:latin typeface="微软雅黑" panose="020B0503020204020204" pitchFamily="34" charset="-122"/>
              <a:ea typeface="微软雅黑" panose="020B0503020204020204" pitchFamily="34" charset="-122"/>
            </a:endParaRPr>
          </a:p>
        </p:txBody>
      </p:sp>
      <p:sp>
        <p:nvSpPr>
          <p:cNvPr id="24" name="文本框 23"/>
          <p:cNvSpPr txBox="1"/>
          <p:nvPr/>
        </p:nvSpPr>
        <p:spPr>
          <a:xfrm>
            <a:off x="6456786" y="4110418"/>
            <a:ext cx="5297848" cy="307777"/>
          </a:xfrm>
          <a:prstGeom prst="rect">
            <a:avLst/>
          </a:prstGeom>
          <a:noFill/>
        </p:spPr>
        <p:txBody>
          <a:bodyPr wrap="square" rtlCol="0">
            <a:spAutoFit/>
          </a:bodyPr>
          <a:lstStyle/>
          <a:p>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氟比洛芬钠滴眼液可实现“抑制术中缩瞳</a:t>
            </a:r>
            <a:r>
              <a:rPr lang="en-US" altLang="zh-CN" sz="1400" b="1" dirty="0">
                <a:solidFill>
                  <a:schemeClr val="accent1">
                    <a:lumMod val="60000"/>
                    <a:lumOff val="40000"/>
                  </a:schemeClr>
                </a:solidFill>
                <a:latin typeface="微软雅黑" panose="020B0503020204020204" pitchFamily="34" charset="-122"/>
                <a:ea typeface="微软雅黑" panose="020B0503020204020204" pitchFamily="34" charset="-122"/>
              </a:rPr>
              <a:t>+</a:t>
            </a:r>
            <a:r>
              <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rPr>
              <a:t>术后抗炎”全程护航</a:t>
            </a:r>
            <a:endParaRPr lang="zh-CN" altLang="en-US" sz="14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Rectangle: Top Corners Rounded 3"/>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基本信息</a:t>
            </a:r>
            <a:endParaRPr lang="zh-CN" altLang="en-US" sz="1400" b="1">
              <a:latin typeface="微软雅黑" charset="0"/>
              <a:ea typeface="微软雅黑" charset="0"/>
            </a:endParaRPr>
          </a:p>
        </p:txBody>
      </p:sp>
      <p:sp>
        <p:nvSpPr>
          <p:cNvPr id="14" name="Rectangle: Top Corners Rounded 13"/>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创新性</a:t>
            </a:r>
            <a:endParaRPr lang="zh-CN" altLang="en-US" sz="1400" b="1" err="1">
              <a:latin typeface="微软雅黑" charset="0"/>
              <a:ea typeface="微软雅黑" charset="0"/>
            </a:endParaRPr>
          </a:p>
        </p:txBody>
      </p:sp>
      <p:sp>
        <p:nvSpPr>
          <p:cNvPr id="15" name="Rectangle: Top Corners Rounded 14"/>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公平性</a:t>
            </a:r>
            <a:endParaRPr lang="zh-CN" altLang="en-US" sz="1400" b="1">
              <a:latin typeface="微软雅黑" charset="0"/>
              <a:ea typeface="微软雅黑" charset="0"/>
            </a:endParaRPr>
          </a:p>
        </p:txBody>
      </p:sp>
      <p:sp>
        <p:nvSpPr>
          <p:cNvPr id="6" name="Rectangle: Top Corners Rounded 29"/>
          <p:cNvSpPr/>
          <p:nvPr/>
        </p:nvSpPr>
        <p:spPr>
          <a:xfrm rot="5400000">
            <a:off x="-235515" y="2659542"/>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安全性</a:t>
            </a:r>
            <a:endParaRPr lang="zh-CN" altLang="en-US" sz="1400" b="1">
              <a:latin typeface="微软雅黑" charset="0"/>
              <a:ea typeface="微软雅黑" charset="0"/>
            </a:endParaRPr>
          </a:p>
        </p:txBody>
      </p:sp>
      <p:sp>
        <p:nvSpPr>
          <p:cNvPr id="11" name="Rectangle: Top Corners Rounded 40"/>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有效性</a:t>
            </a:r>
            <a:endParaRPr lang="zh-CN" altLang="en-US" sz="1400" b="1">
              <a:latin typeface="微软雅黑" charset="0"/>
              <a:ea typeface="微软雅黑" charset="0"/>
            </a:endParaRPr>
          </a:p>
        </p:txBody>
      </p:sp>
      <p:sp>
        <p:nvSpPr>
          <p:cNvPr id="5"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4</a:t>
            </a:r>
            <a:endParaRPr sz="1000" b="1">
              <a:solidFill>
                <a:schemeClr val="bg1"/>
              </a:solidFill>
            </a:endParaRPr>
          </a:p>
        </p:txBody>
      </p:sp>
      <p:sp>
        <p:nvSpPr>
          <p:cNvPr id="7" name="标题 1"/>
          <p:cNvSpPr>
            <a:spLocks noGrp="1"/>
          </p:cNvSpPr>
          <p:nvPr/>
        </p:nvSpPr>
        <p:spPr>
          <a:xfrm>
            <a:off x="384693" y="437899"/>
            <a:ext cx="10748363" cy="556260"/>
          </a:xfrm>
          <a:prstGeom prst="rect">
            <a:avLst/>
          </a:prstGeom>
        </p:spPr>
        <p:txBody>
          <a:bodyPr vert="horz" anchor="b"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indent="0" fontAlgn="auto">
              <a:lnSpc>
                <a:spcPct val="100000"/>
              </a:lnSpc>
            </a:pPr>
            <a:r>
              <a:rPr lang="zh-CN" altLang="en-US" sz="2200" dirty="0">
                <a:latin typeface="微软雅黑" charset="0"/>
                <a:ea typeface="微软雅黑" charset="0"/>
                <a:cs typeface="微软雅黑" charset="0"/>
              </a:rPr>
              <a:t>氟比洛芬钠滴眼液无激素副作用，常见不良反应均为一过性，整体安全可控；单剂量包装设计、无防腐剂添加，有效保障用药安全性</a:t>
            </a:r>
            <a:endParaRPr lang="zh-CN" altLang="en-US" sz="2200" dirty="0">
              <a:latin typeface="微软雅黑" charset="0"/>
              <a:ea typeface="微软雅黑" charset="0"/>
              <a:cs typeface="微软雅黑" charset="0"/>
            </a:endParaRPr>
          </a:p>
        </p:txBody>
      </p:sp>
      <p:grpSp>
        <p:nvGrpSpPr>
          <p:cNvPr id="21" name="组合 20"/>
          <p:cNvGrpSpPr/>
          <p:nvPr/>
        </p:nvGrpSpPr>
        <p:grpSpPr>
          <a:xfrm>
            <a:off x="782426" y="1023575"/>
            <a:ext cx="5505492" cy="3538998"/>
            <a:chOff x="782426" y="1268676"/>
            <a:chExt cx="5505492" cy="3538998"/>
          </a:xfrm>
        </p:grpSpPr>
        <p:sp>
          <p:nvSpPr>
            <p:cNvPr id="42" name="Rectangle: Rounded Corners 41"/>
            <p:cNvSpPr/>
            <p:nvPr/>
          </p:nvSpPr>
          <p:spPr>
            <a:xfrm>
              <a:off x="782426" y="1478916"/>
              <a:ext cx="5505492" cy="3328758"/>
            </a:xfrm>
            <a:prstGeom prst="roundRect">
              <a:avLst>
                <a:gd name="adj" fmla="val 5278"/>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latin typeface="微软雅黑" charset="0"/>
                <a:ea typeface="微软雅黑" charset="0"/>
              </a:endParaRPr>
            </a:p>
          </p:txBody>
        </p:sp>
        <p:sp>
          <p:nvSpPr>
            <p:cNvPr id="40" name="Rectangle: Rounded Corners 2"/>
            <p:cNvSpPr/>
            <p:nvPr/>
          </p:nvSpPr>
          <p:spPr>
            <a:xfrm>
              <a:off x="1384482" y="1268676"/>
              <a:ext cx="4010861" cy="407310"/>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1" kern="0" dirty="0">
                  <a:solidFill>
                    <a:srgbClr val="FFFFFF"/>
                  </a:solidFill>
                  <a:latin typeface="微软雅黑" charset="0"/>
                  <a:ea typeface="微软雅黑" charset="0"/>
                </a:rPr>
                <a:t>说明书收载的安全性信息</a:t>
              </a:r>
              <a:endPar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cs typeface="+mn-cs"/>
              </a:endParaRPr>
            </a:p>
          </p:txBody>
        </p:sp>
        <p:sp>
          <p:nvSpPr>
            <p:cNvPr id="48" name="TextBox 47"/>
            <p:cNvSpPr txBox="1"/>
            <p:nvPr/>
          </p:nvSpPr>
          <p:spPr>
            <a:xfrm>
              <a:off x="931322" y="1750822"/>
              <a:ext cx="5164678" cy="1403076"/>
            </a:xfrm>
            <a:prstGeom prst="rect">
              <a:avLst/>
            </a:prstGeom>
            <a:noFill/>
          </p:spPr>
          <p:txBody>
            <a:bodyPr wrap="square">
              <a:spAutoFit/>
            </a:bodyPr>
            <a:lstStyle/>
            <a:p>
              <a:pPr marL="0" lvl="1" algn="just">
                <a:lnSpc>
                  <a:spcPct val="120000"/>
                </a:lnSpc>
                <a:buSzPct val="100000"/>
                <a:defRPr/>
              </a:pPr>
              <a:r>
                <a:rPr lang="zh-CN" altLang="en-US" sz="1600" b="1" kern="0" dirty="0">
                  <a:solidFill>
                    <a:schemeClr val="accent1">
                      <a:lumMod val="60000"/>
                      <a:lumOff val="40000"/>
                    </a:schemeClr>
                  </a:solidFill>
                  <a:latin typeface="微软雅黑" charset="0"/>
                  <a:ea typeface="微软雅黑" charset="0"/>
                  <a:cs typeface="微软雅黑" charset="0"/>
                </a:rPr>
                <a:t>常见不良反应均为一过性，安全可控</a:t>
              </a:r>
              <a:endParaRPr lang="en-US" altLang="zh-CN" sz="1600" b="1" kern="0" dirty="0">
                <a:solidFill>
                  <a:schemeClr val="accent1">
                    <a:lumMod val="60000"/>
                    <a:lumOff val="40000"/>
                  </a:schemeClr>
                </a:solidFill>
                <a:latin typeface="微软雅黑" charset="0"/>
                <a:ea typeface="微软雅黑" charset="0"/>
                <a:cs typeface="微软雅黑" charset="0"/>
              </a:endParaRPr>
            </a:p>
            <a:p>
              <a:pPr marL="285750" lvl="2" indent="-285750" algn="just">
                <a:lnSpc>
                  <a:spcPct val="120000"/>
                </a:lnSpc>
                <a:spcBef>
                  <a:spcPts val="600"/>
                </a:spcBef>
                <a:buFont typeface="Arial" panose="020B0604020202090204" pitchFamily="34" charset="0"/>
                <a:buChar char="•"/>
                <a:defRPr/>
              </a:pPr>
              <a:r>
                <a:rPr lang="zh-CN" altLang="en-US" sz="1600" kern="0" dirty="0">
                  <a:latin typeface="微软雅黑" charset="0"/>
                  <a:ea typeface="微软雅黑" charset="0"/>
                </a:rPr>
                <a:t>常见不良反应主要表现为短暂的局部刺激症状，如轻度烧灼感、刺痛感或异物感。</a:t>
              </a:r>
              <a:endParaRPr lang="en-US" altLang="zh-CN" sz="1600" kern="0" dirty="0">
                <a:latin typeface="微软雅黑" charset="0"/>
                <a:ea typeface="微软雅黑" charset="0"/>
              </a:endParaRPr>
            </a:p>
            <a:p>
              <a:pPr marL="285750" lvl="2" indent="-285750" algn="just">
                <a:lnSpc>
                  <a:spcPct val="120000"/>
                </a:lnSpc>
                <a:spcBef>
                  <a:spcPts val="600"/>
                </a:spcBef>
                <a:buFont typeface="Arial" panose="020B0604020202090204" pitchFamily="34" charset="0"/>
                <a:buChar char="•"/>
                <a:defRPr/>
              </a:pPr>
              <a:r>
                <a:rPr lang="zh-CN" altLang="en-US" sz="1600" kern="0" dirty="0">
                  <a:latin typeface="微软雅黑" charset="0"/>
                  <a:ea typeface="微软雅黑" charset="0"/>
                </a:rPr>
                <a:t>通常症状轻微且为一过性，不影响持续用药。</a:t>
              </a:r>
              <a:endParaRPr lang="zh-CN" altLang="en-US" sz="1600" kern="0" dirty="0">
                <a:latin typeface="微软雅黑" charset="0"/>
                <a:ea typeface="微软雅黑" charset="0"/>
              </a:endParaRPr>
            </a:p>
          </p:txBody>
        </p:sp>
        <p:sp>
          <p:nvSpPr>
            <p:cNvPr id="9" name="TextBox 47"/>
            <p:cNvSpPr txBox="1"/>
            <p:nvPr/>
          </p:nvSpPr>
          <p:spPr>
            <a:xfrm>
              <a:off x="981687" y="3147704"/>
              <a:ext cx="5114313" cy="1544654"/>
            </a:xfrm>
            <a:prstGeom prst="rect">
              <a:avLst/>
            </a:prstGeom>
            <a:noFill/>
          </p:spPr>
          <p:txBody>
            <a:bodyPr wrap="square">
              <a:spAutoFit/>
            </a:bodyPr>
            <a:lstStyle/>
            <a:p>
              <a:pPr marL="0" lvl="1" algn="just">
                <a:lnSpc>
                  <a:spcPct val="120000"/>
                </a:lnSpc>
                <a:buSzPct val="100000"/>
                <a:defRPr/>
              </a:pPr>
              <a:r>
                <a:rPr lang="zh-CN" altLang="en-US" sz="1600" b="1" kern="0" dirty="0">
                  <a:solidFill>
                    <a:schemeClr val="accent1">
                      <a:lumMod val="60000"/>
                      <a:lumOff val="40000"/>
                    </a:schemeClr>
                  </a:solidFill>
                  <a:latin typeface="微软雅黑" charset="0"/>
                  <a:ea typeface="微软雅黑" charset="0"/>
                  <a:cs typeface="微软雅黑" charset="0"/>
                </a:rPr>
                <a:t>严重不良反应发生情况：</a:t>
              </a:r>
              <a:endParaRPr lang="en-US" altLang="zh-CN" sz="1600" b="1" kern="0" dirty="0">
                <a:solidFill>
                  <a:schemeClr val="accent1">
                    <a:lumMod val="60000"/>
                    <a:lumOff val="40000"/>
                  </a:schemeClr>
                </a:solidFill>
                <a:latin typeface="微软雅黑" charset="0"/>
                <a:ea typeface="微软雅黑" charset="0"/>
                <a:cs typeface="微软雅黑" charset="0"/>
              </a:endParaRPr>
            </a:p>
            <a:p>
              <a:pPr marL="285750" lvl="2" indent="-285750" algn="just">
                <a:lnSpc>
                  <a:spcPct val="120000"/>
                </a:lnSpc>
                <a:buClrTx/>
                <a:buSzTx/>
                <a:buFont typeface="Arial" panose="020B0604020202090204" pitchFamily="34" charset="0"/>
                <a:buChar char="•"/>
                <a:defRPr/>
              </a:pPr>
              <a:r>
                <a:rPr lang="zh-CN" altLang="en-US" sz="1600" kern="0" dirty="0">
                  <a:latin typeface="微软雅黑" charset="0"/>
                  <a:ea typeface="微软雅黑" charset="0"/>
                </a:rPr>
                <a:t>角膜并发症：长期使用可能延缓角膜愈合，增加感染风险。</a:t>
              </a:r>
              <a:endParaRPr lang="zh-CN" altLang="en-US" sz="1600" kern="0" dirty="0">
                <a:latin typeface="微软雅黑" charset="0"/>
                <a:ea typeface="微软雅黑" charset="0"/>
              </a:endParaRPr>
            </a:p>
            <a:p>
              <a:pPr marL="285750" lvl="2" indent="-285750" algn="just">
                <a:lnSpc>
                  <a:spcPct val="120000"/>
                </a:lnSpc>
                <a:buClrTx/>
                <a:buSzTx/>
                <a:buFont typeface="Arial" panose="020B0604020202090204" pitchFamily="34" charset="0"/>
                <a:buChar char="•"/>
                <a:defRPr/>
              </a:pPr>
              <a:r>
                <a:rPr lang="zh-CN" altLang="en-US" sz="1600" kern="0" dirty="0">
                  <a:latin typeface="微软雅黑" charset="0"/>
                  <a:ea typeface="微软雅黑" charset="0"/>
                </a:rPr>
                <a:t>过敏反应：禁用于对氟比洛芬、阿司匹林或NSAIDs过敏者。</a:t>
              </a:r>
              <a:endParaRPr lang="zh-CN" altLang="en-US" sz="1600" kern="0" dirty="0">
                <a:latin typeface="微软雅黑" charset="0"/>
                <a:ea typeface="微软雅黑" charset="0"/>
              </a:endParaRPr>
            </a:p>
          </p:txBody>
        </p:sp>
      </p:grpSp>
      <p:grpSp>
        <p:nvGrpSpPr>
          <p:cNvPr id="3" name="组合 2"/>
          <p:cNvGrpSpPr/>
          <p:nvPr/>
        </p:nvGrpSpPr>
        <p:grpSpPr>
          <a:xfrm>
            <a:off x="782426" y="4637409"/>
            <a:ext cx="10988453" cy="1958971"/>
            <a:chOff x="992505" y="3629361"/>
            <a:chExt cx="4892675" cy="1958971"/>
          </a:xfrm>
        </p:grpSpPr>
        <p:sp>
          <p:nvSpPr>
            <p:cNvPr id="13" name="Rectangle: Rounded Corners 41"/>
            <p:cNvSpPr/>
            <p:nvPr/>
          </p:nvSpPr>
          <p:spPr>
            <a:xfrm>
              <a:off x="992505" y="3832860"/>
              <a:ext cx="4892675" cy="1755472"/>
            </a:xfrm>
            <a:prstGeom prst="roundRect">
              <a:avLst>
                <a:gd name="adj" fmla="val 5278"/>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latin typeface="微软雅黑" charset="0"/>
                <a:ea typeface="微软雅黑" charset="0"/>
              </a:endParaRPr>
            </a:p>
          </p:txBody>
        </p:sp>
        <p:sp>
          <p:nvSpPr>
            <p:cNvPr id="16" name="Rectangle: Rounded Corners 2"/>
            <p:cNvSpPr/>
            <p:nvPr/>
          </p:nvSpPr>
          <p:spPr>
            <a:xfrm>
              <a:off x="1547295" y="3629361"/>
              <a:ext cx="3782806" cy="407310"/>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noProof="0" dirty="0">
                  <a:ln>
                    <a:noFill/>
                  </a:ln>
                  <a:solidFill>
                    <a:srgbClr val="FFFFFF"/>
                  </a:solidFill>
                  <a:effectLst/>
                  <a:uLnTx/>
                  <a:uFillTx/>
                  <a:latin typeface="微软雅黑" charset="0"/>
                  <a:ea typeface="微软雅黑" charset="0"/>
                </a:rPr>
                <a:t>氟比洛芬钠滴眼液</a:t>
              </a:r>
              <a:r>
                <a:rPr lang="zh-CN" altLang="en-US" sz="1600" b="1" kern="0" dirty="0">
                  <a:solidFill>
                    <a:srgbClr val="FFFFFF"/>
                  </a:solidFill>
                  <a:latin typeface="微软雅黑" charset="0"/>
                  <a:ea typeface="微软雅黑" charset="0"/>
                </a:rPr>
                <a:t>采用</a:t>
              </a:r>
              <a:r>
                <a:rPr kumimoji="0" lang="zh-CN" altLang="en-US" sz="1600" b="1" i="0" u="none" strike="noStrike" kern="0" cap="none" spc="0" normalizeH="0" noProof="0" dirty="0">
                  <a:ln>
                    <a:noFill/>
                  </a:ln>
                  <a:solidFill>
                    <a:srgbClr val="FFFFFF"/>
                  </a:solidFill>
                  <a:effectLst/>
                  <a:uLnTx/>
                  <a:uFillTx/>
                  <a:latin typeface="微软雅黑" charset="0"/>
                  <a:ea typeface="微软雅黑" charset="0"/>
                </a:rPr>
                <a:t>单剂量包装，不含防腐剂，有效提升用药安全性</a:t>
              </a:r>
              <a:endParaRPr kumimoji="0" lang="zh-CN" altLang="en-US" sz="1600" b="1" i="0" u="none" strike="noStrike" kern="0" cap="none" spc="0" normalizeH="0" noProof="0" dirty="0">
                <a:ln>
                  <a:noFill/>
                </a:ln>
                <a:solidFill>
                  <a:srgbClr val="FFFFFF"/>
                </a:solidFill>
                <a:effectLst/>
                <a:uLnTx/>
                <a:uFillTx/>
                <a:latin typeface="微软雅黑" charset="0"/>
                <a:ea typeface="微软雅黑" charset="0"/>
              </a:endParaRPr>
            </a:p>
          </p:txBody>
        </p:sp>
        <p:sp>
          <p:nvSpPr>
            <p:cNvPr id="17" name="TextBox 47"/>
            <p:cNvSpPr txBox="1"/>
            <p:nvPr/>
          </p:nvSpPr>
          <p:spPr>
            <a:xfrm>
              <a:off x="1039517" y="4086635"/>
              <a:ext cx="4706832" cy="1308050"/>
            </a:xfrm>
            <a:prstGeom prst="rect">
              <a:avLst/>
            </a:prstGeom>
            <a:noFill/>
          </p:spPr>
          <p:txBody>
            <a:bodyPr wrap="square">
              <a:spAutoFit/>
            </a:bodyPr>
            <a:lstStyle/>
            <a:p>
              <a:pPr marL="285750" lvl="1" indent="-285750">
                <a:spcBef>
                  <a:spcPts val="600"/>
                </a:spcBef>
                <a:buSzPct val="100000"/>
                <a:buFont typeface="Arial" panose="020B0604020202090204" pitchFamily="34" charset="0"/>
                <a:buChar char="•"/>
                <a:defRPr/>
              </a:pPr>
              <a:r>
                <a:rPr lang="zh-CN" altLang="en-US" sz="1600" b="1" kern="0" dirty="0">
                  <a:solidFill>
                    <a:schemeClr val="accent1">
                      <a:lumMod val="60000"/>
                      <a:lumOff val="40000"/>
                    </a:schemeClr>
                  </a:solidFill>
                  <a:latin typeface="微软雅黑" charset="0"/>
                  <a:ea typeface="微软雅黑" charset="0"/>
                  <a:cs typeface="微软雅黑" charset="0"/>
                </a:rPr>
                <a:t>大幅降低用药感染风险：</a:t>
              </a:r>
              <a:endParaRPr lang="en-US" altLang="zh-CN" sz="1600" b="1" kern="0" dirty="0">
                <a:solidFill>
                  <a:schemeClr val="accent1">
                    <a:lumMod val="60000"/>
                    <a:lumOff val="40000"/>
                  </a:schemeClr>
                </a:solidFill>
                <a:latin typeface="微软雅黑" charset="0"/>
                <a:ea typeface="微软雅黑" charset="0"/>
                <a:cs typeface="微软雅黑" charset="0"/>
              </a:endParaRPr>
            </a:p>
            <a:p>
              <a:pPr marL="0" lvl="1">
                <a:spcBef>
                  <a:spcPts val="600"/>
                </a:spcBef>
                <a:buSzPct val="100000"/>
                <a:defRPr/>
              </a:pPr>
              <a:r>
                <a:rPr lang="zh-CN" altLang="en-US" sz="1600" kern="0" dirty="0">
                  <a:latin typeface="微软雅黑" charset="0"/>
                  <a:ea typeface="微软雅黑" charset="0"/>
                  <a:cs typeface="微软雅黑" charset="0"/>
                </a:rPr>
                <a:t>独立单剂量包装设计，一次一支，即用即弃，从物理层面彻底杜绝了药液在开启后被微生物污染的可能性。</a:t>
              </a:r>
              <a:endParaRPr lang="zh-CN" altLang="en-US" sz="1600" kern="0" dirty="0">
                <a:latin typeface="微软雅黑" charset="0"/>
                <a:ea typeface="微软雅黑" charset="0"/>
                <a:cs typeface="微软雅黑" charset="0"/>
              </a:endParaRPr>
            </a:p>
            <a:p>
              <a:pPr marL="0" lvl="1" indent="-231775">
                <a:spcBef>
                  <a:spcPts val="600"/>
                </a:spcBef>
                <a:buSzPct val="100000"/>
                <a:buFont typeface="Arial" panose="020B0604020202090204" pitchFamily="34" charset="0"/>
                <a:buChar char="•"/>
                <a:defRPr/>
              </a:pPr>
              <a:r>
                <a:rPr lang="zh-CN" altLang="en-US" sz="1600" b="1" kern="0" dirty="0">
                  <a:solidFill>
                    <a:schemeClr val="accent1">
                      <a:lumMod val="60000"/>
                      <a:lumOff val="40000"/>
                    </a:schemeClr>
                  </a:solidFill>
                  <a:latin typeface="微软雅黑" charset="0"/>
                  <a:ea typeface="微软雅黑" charset="0"/>
                  <a:cs typeface="微软雅黑" charset="0"/>
                  <a:sym typeface="+mn-ea"/>
                </a:rPr>
                <a:t>减少眼表毒性损伤：</a:t>
              </a:r>
              <a:endParaRPr lang="en-US" altLang="zh-CN" sz="1600" b="1" kern="0" dirty="0">
                <a:solidFill>
                  <a:schemeClr val="accent1">
                    <a:lumMod val="60000"/>
                    <a:lumOff val="40000"/>
                  </a:schemeClr>
                </a:solidFill>
                <a:latin typeface="微软雅黑" charset="0"/>
                <a:ea typeface="微软雅黑" charset="0"/>
                <a:cs typeface="微软雅黑" charset="0"/>
                <a:sym typeface="+mn-ea"/>
              </a:endParaRPr>
            </a:p>
            <a:p>
              <a:pPr marL="0" lvl="1">
                <a:spcBef>
                  <a:spcPts val="600"/>
                </a:spcBef>
                <a:buSzPct val="100000"/>
                <a:defRPr/>
              </a:pPr>
              <a:r>
                <a:rPr lang="zh-CN" altLang="en-US" sz="1600" kern="0" dirty="0">
                  <a:latin typeface="微软雅黑" charset="0"/>
                  <a:ea typeface="微软雅黑" charset="0"/>
                  <a:cs typeface="微软雅黑" charset="0"/>
                </a:rPr>
                <a:t>有效避免防腐剂对角膜上皮细胞和泪膜的长期化学性损害，尤其适合眼表功能不佳或需要长期使用滴眼液的患者。</a:t>
              </a:r>
              <a:endParaRPr lang="zh-CN" altLang="en-US" sz="1600" kern="0" dirty="0">
                <a:latin typeface="微软雅黑" charset="0"/>
                <a:ea typeface="微软雅黑" charset="0"/>
                <a:cs typeface="微软雅黑" charset="0"/>
              </a:endParaRPr>
            </a:p>
          </p:txBody>
        </p:sp>
      </p:grpSp>
      <p:sp>
        <p:nvSpPr>
          <p:cNvPr id="18" name="Rectangle: Rounded Corners 41"/>
          <p:cNvSpPr/>
          <p:nvPr/>
        </p:nvSpPr>
        <p:spPr>
          <a:xfrm>
            <a:off x="6420233" y="1233815"/>
            <a:ext cx="5350646" cy="3328758"/>
          </a:xfrm>
          <a:prstGeom prst="roundRect">
            <a:avLst>
              <a:gd name="adj" fmla="val 5278"/>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latin typeface="微软雅黑" charset="0"/>
              <a:ea typeface="微软雅黑" charset="0"/>
            </a:endParaRPr>
          </a:p>
        </p:txBody>
      </p:sp>
      <p:sp>
        <p:nvSpPr>
          <p:cNvPr id="19" name="Rectangle: Rounded Corners 2"/>
          <p:cNvSpPr/>
          <p:nvPr/>
        </p:nvSpPr>
        <p:spPr>
          <a:xfrm>
            <a:off x="7153693" y="1021379"/>
            <a:ext cx="3782806" cy="407310"/>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algn="l" defTabSz="914400" rtl="0" eaLnBrk="1" fontAlgn="auto" latinLnBrk="0" hangingPunct="1">
              <a:lnSpc>
                <a:spcPct val="100000"/>
              </a:lnSpc>
              <a:spcBef>
                <a:spcPts val="0"/>
              </a:spcBef>
              <a:spcAft>
                <a:spcPts val="0"/>
              </a:spcAft>
              <a:buClrTx/>
              <a:buSzTx/>
              <a:buFontTx/>
              <a:buNone/>
              <a:defRPr/>
            </a:pPr>
            <a:r>
              <a:rPr lang="zh-CN" altLang="en-US" sz="1600" b="1" kern="0" dirty="0">
                <a:solidFill>
                  <a:srgbClr val="FFFFFF"/>
                </a:solidFill>
                <a:latin typeface="微软雅黑" charset="0"/>
                <a:ea typeface="微软雅黑" charset="0"/>
              </a:rPr>
              <a:t>上市后</a:t>
            </a:r>
            <a:r>
              <a:rPr kumimoji="0" lang="zh-CN" altLang="en-US" sz="1600" b="1" i="0" u="none" strike="noStrike" kern="0" cap="none" spc="0" normalizeH="0" noProof="0" dirty="0">
                <a:ln>
                  <a:noFill/>
                </a:ln>
                <a:solidFill>
                  <a:srgbClr val="FFFFFF"/>
                </a:solidFill>
                <a:effectLst/>
                <a:uLnTx/>
                <a:uFillTx/>
                <a:latin typeface="微软雅黑" charset="0"/>
                <a:ea typeface="微软雅黑" charset="0"/>
              </a:rPr>
              <a:t>安全性评价和信息</a:t>
            </a:r>
            <a:endParaRPr kumimoji="0" lang="zh-CN" altLang="en-US" sz="1600" b="1" i="0" u="none" strike="noStrike" kern="0" cap="none" spc="0" normalizeH="0" noProof="0" dirty="0">
              <a:ln>
                <a:noFill/>
              </a:ln>
              <a:solidFill>
                <a:srgbClr val="FFFFFF"/>
              </a:solidFill>
              <a:effectLst/>
              <a:uLnTx/>
              <a:uFillTx/>
              <a:latin typeface="微软雅黑" charset="0"/>
              <a:ea typeface="微软雅黑" charset="0"/>
            </a:endParaRPr>
          </a:p>
        </p:txBody>
      </p:sp>
      <p:sp>
        <p:nvSpPr>
          <p:cNvPr id="20" name="TextBox 47"/>
          <p:cNvSpPr txBox="1"/>
          <p:nvPr/>
        </p:nvSpPr>
        <p:spPr>
          <a:xfrm>
            <a:off x="6420232" y="1487521"/>
            <a:ext cx="5240725" cy="2738827"/>
          </a:xfrm>
          <a:prstGeom prst="rect">
            <a:avLst/>
          </a:prstGeom>
          <a:noFill/>
        </p:spPr>
        <p:txBody>
          <a:bodyPr wrap="square">
            <a:spAutoFit/>
          </a:bodyPr>
          <a:lstStyle/>
          <a:p>
            <a:pPr marL="0" lvl="1" algn="just">
              <a:lnSpc>
                <a:spcPct val="120000"/>
              </a:lnSpc>
              <a:spcBef>
                <a:spcPts val="600"/>
              </a:spcBef>
              <a:buSzPct val="100000"/>
              <a:defRPr/>
            </a:pPr>
            <a:r>
              <a:rPr lang="zh-CN" altLang="en-US" sz="1600" b="1" kern="0" dirty="0">
                <a:solidFill>
                  <a:schemeClr val="accent1">
                    <a:lumMod val="60000"/>
                    <a:lumOff val="40000"/>
                  </a:schemeClr>
                </a:solidFill>
                <a:latin typeface="微软雅黑" charset="0"/>
                <a:ea typeface="微软雅黑" charset="0"/>
                <a:cs typeface="微软雅黑" charset="0"/>
              </a:rPr>
              <a:t>国内外均无严重安全事件报道：</a:t>
            </a:r>
            <a:endParaRPr lang="en-US" altLang="zh-CN" sz="1600" b="1" kern="0" dirty="0">
              <a:solidFill>
                <a:schemeClr val="accent1">
                  <a:lumMod val="60000"/>
                  <a:lumOff val="40000"/>
                </a:schemeClr>
              </a:solidFill>
              <a:latin typeface="微软雅黑" charset="0"/>
              <a:ea typeface="微软雅黑" charset="0"/>
              <a:cs typeface="微软雅黑" charset="0"/>
            </a:endParaRPr>
          </a:p>
          <a:p>
            <a:pPr marL="285750" lvl="2" indent="-285750" algn="just">
              <a:lnSpc>
                <a:spcPct val="120000"/>
              </a:lnSpc>
              <a:spcBef>
                <a:spcPts val="600"/>
              </a:spcBef>
              <a:buClrTx/>
              <a:buSzTx/>
              <a:buFont typeface="Arial" panose="020B0604020202090204" pitchFamily="34" charset="0"/>
              <a:buChar char="•"/>
              <a:defRPr/>
            </a:pPr>
            <a:r>
              <a:rPr lang="zh-CN" altLang="en-US" sz="1600" kern="0" dirty="0">
                <a:latin typeface="微软雅黑" charset="0"/>
                <a:ea typeface="微软雅黑" charset="0"/>
                <a:cs typeface="微软雅黑" charset="0"/>
              </a:rPr>
              <a:t>氟比洛芬钠滴眼液在全球范围内在多个国家上市，有广泛的用药群体使用经验和数据</a:t>
            </a:r>
            <a:r>
              <a:rPr lang="en-US" altLang="zh-CN" sz="1600" kern="0" dirty="0">
                <a:latin typeface="微软雅黑" charset="0"/>
                <a:ea typeface="微软雅黑" charset="0"/>
                <a:cs typeface="微软雅黑" charset="0"/>
              </a:rPr>
              <a:t>。</a:t>
            </a:r>
            <a:endParaRPr lang="zh-CN" altLang="en-US" sz="1600" kern="0" dirty="0">
              <a:latin typeface="微软雅黑" charset="0"/>
              <a:ea typeface="微软雅黑" charset="0"/>
              <a:cs typeface="微软雅黑" charset="0"/>
            </a:endParaRPr>
          </a:p>
          <a:p>
            <a:pPr marL="285750" lvl="2" indent="-285750" algn="just">
              <a:lnSpc>
                <a:spcPct val="120000"/>
              </a:lnSpc>
              <a:spcBef>
                <a:spcPts val="600"/>
              </a:spcBef>
              <a:buClrTx/>
              <a:buSzTx/>
              <a:buFont typeface="Arial" panose="020B0604020202090204" pitchFamily="34" charset="0"/>
              <a:buChar char="•"/>
              <a:defRPr/>
            </a:pPr>
            <a:r>
              <a:rPr lang="zh-CN" altLang="en-US" sz="1600" kern="0" dirty="0">
                <a:latin typeface="微软雅黑" charset="0"/>
                <a:ea typeface="微软雅黑" charset="0"/>
                <a:cs typeface="微软雅黑" charset="0"/>
              </a:rPr>
              <a:t>国际上无特殊毒性或可致眼残疾的病例报告</a:t>
            </a:r>
            <a:r>
              <a:rPr lang="en-US" altLang="zh-CN" sz="1600" kern="0" dirty="0">
                <a:latin typeface="微软雅黑" charset="0"/>
                <a:ea typeface="微软雅黑" charset="0"/>
                <a:cs typeface="微软雅黑" charset="0"/>
              </a:rPr>
              <a:t>。</a:t>
            </a:r>
            <a:endParaRPr lang="en-US" altLang="zh-CN" sz="1600" kern="0" dirty="0">
              <a:latin typeface="微软雅黑" charset="0"/>
              <a:ea typeface="微软雅黑" charset="0"/>
              <a:cs typeface="微软雅黑" charset="0"/>
            </a:endParaRPr>
          </a:p>
          <a:p>
            <a:pPr marL="285750" lvl="2" indent="-285750" algn="just">
              <a:lnSpc>
                <a:spcPct val="120000"/>
              </a:lnSpc>
              <a:spcBef>
                <a:spcPts val="600"/>
              </a:spcBef>
              <a:buClrTx/>
              <a:buSzTx/>
              <a:buFont typeface="Arial" panose="020B0604020202090204" pitchFamily="34" charset="0"/>
              <a:buChar char="•"/>
              <a:defRPr/>
            </a:pPr>
            <a:endParaRPr lang="en-US" altLang="zh-CN" sz="1600" kern="0" dirty="0">
              <a:latin typeface="微软雅黑" charset="0"/>
              <a:ea typeface="微软雅黑" charset="0"/>
              <a:cs typeface="微软雅黑" charset="0"/>
            </a:endParaRPr>
          </a:p>
          <a:p>
            <a:pPr marL="285750" lvl="2" indent="-285750" algn="just">
              <a:lnSpc>
                <a:spcPct val="120000"/>
              </a:lnSpc>
              <a:spcBef>
                <a:spcPts val="600"/>
              </a:spcBef>
              <a:buClrTx/>
              <a:buSzTx/>
              <a:buFont typeface="Arial" panose="020B0604020202090204" pitchFamily="34" charset="0"/>
              <a:buChar char="•"/>
              <a:defRPr/>
            </a:pPr>
            <a:r>
              <a:rPr lang="zh-CN" altLang="en-US" sz="1600" kern="0" dirty="0">
                <a:latin typeface="微软雅黑" charset="0"/>
                <a:ea typeface="微软雅黑" charset="0"/>
                <a:cs typeface="微软雅黑" charset="0"/>
              </a:rPr>
              <a:t>国内也未见各相关国家药监管理部门的严重不良反应报告、安全性警告、黑框警告以及相关安全性引起的撤市信息</a:t>
            </a:r>
            <a:r>
              <a:rPr lang="en-US" altLang="zh-CN" sz="1600" kern="0" dirty="0">
                <a:latin typeface="微软雅黑" charset="0"/>
                <a:ea typeface="微软雅黑" charset="0"/>
                <a:cs typeface="微软雅黑" charset="0"/>
              </a:rPr>
              <a:t>。</a:t>
            </a:r>
            <a:endParaRPr lang="zh-CN" altLang="en-US" sz="1600" kern="0" dirty="0">
              <a:latin typeface="微软雅黑" charset="0"/>
              <a:ea typeface="微软雅黑" charset="0"/>
              <a:cs typeface="微软雅黑"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504396" y="274354"/>
            <a:ext cx="11218857" cy="768263"/>
          </a:xfrm>
        </p:spPr>
        <p:txBody>
          <a:bodyPr vert="horz"/>
          <a:lstStyle/>
          <a:p>
            <a:r>
              <a:rPr lang="zh-CN" altLang="en-US" sz="2400" b="1" dirty="0">
                <a:latin typeface="微软雅黑" charset="0"/>
                <a:ea typeface="微软雅黑" charset="0"/>
                <a:cs typeface="微软雅黑" charset="0"/>
              </a:rPr>
              <a:t>氟比洛芬钠滴眼液作为全新</a:t>
            </a:r>
            <a:r>
              <a:rPr lang="en-US" altLang="zh-CN" sz="2400" b="1" dirty="0">
                <a:latin typeface="微软雅黑" charset="0"/>
                <a:ea typeface="微软雅黑" charset="0"/>
                <a:cs typeface="微软雅黑" charset="0"/>
              </a:rPr>
              <a:t>NSAIDs</a:t>
            </a:r>
            <a:r>
              <a:rPr lang="zh-CN" altLang="en-US" sz="2400" b="1" dirty="0">
                <a:latin typeface="微软雅黑" charset="0"/>
                <a:ea typeface="微软雅黑" charset="0"/>
                <a:cs typeface="微软雅黑" charset="0"/>
              </a:rPr>
              <a:t>眼科用药，其抗炎疗效于激素相当且无升高眼压风险，在临床实践中得到广泛认可</a:t>
            </a:r>
            <a:endParaRPr lang="en-US" sz="2400" dirty="0">
              <a:solidFill>
                <a:srgbClr val="C00000"/>
              </a:solidFill>
              <a:latin typeface="微软雅黑" charset="0"/>
              <a:ea typeface="微软雅黑" charset="0"/>
              <a:cs typeface="微软雅黑" charset="0"/>
            </a:endParaRPr>
          </a:p>
        </p:txBody>
      </p:sp>
      <p:sp>
        <p:nvSpPr>
          <p:cNvPr id="13" name="Rectangle: Top Corners Rounded 12"/>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基本信息</a:t>
            </a:r>
            <a:endParaRPr lang="zh-CN" altLang="en-US" sz="1400" b="1" err="1">
              <a:latin typeface="微软雅黑" charset="0"/>
              <a:ea typeface="微软雅黑" charset="0"/>
            </a:endParaRPr>
          </a:p>
        </p:txBody>
      </p:sp>
      <p:sp>
        <p:nvSpPr>
          <p:cNvPr id="17" name="Rectangle: Top Corners Rounded 16"/>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创新性</a:t>
            </a:r>
            <a:endParaRPr lang="zh-CN" altLang="en-US" sz="1400" b="1" err="1">
              <a:latin typeface="微软雅黑" charset="0"/>
              <a:ea typeface="微软雅黑" charset="0"/>
            </a:endParaRPr>
          </a:p>
        </p:txBody>
      </p:sp>
      <p:sp>
        <p:nvSpPr>
          <p:cNvPr id="18" name="Rectangle: Top Corners Rounded 17"/>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公平性</a:t>
            </a:r>
            <a:endParaRPr lang="zh-CN" altLang="en-US" sz="1400" b="1" err="1">
              <a:latin typeface="微软雅黑" charset="0"/>
              <a:ea typeface="微软雅黑" charset="0"/>
            </a:endParaRPr>
          </a:p>
        </p:txBody>
      </p:sp>
      <p:sp>
        <p:nvSpPr>
          <p:cNvPr id="4" name="Rectangle: Rounded Corners 3"/>
          <p:cNvSpPr/>
          <p:nvPr/>
        </p:nvSpPr>
        <p:spPr>
          <a:xfrm>
            <a:off x="648224" y="1173328"/>
            <a:ext cx="11075029" cy="4601069"/>
          </a:xfrm>
          <a:prstGeom prst="roundRect">
            <a:avLst>
              <a:gd name="adj" fmla="val 5164"/>
            </a:avLst>
          </a:pr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0" rtlCol="0" anchor="t"/>
          <a:lstStyle/>
          <a:p>
            <a:endParaRPr lang="en-US" sz="1600">
              <a:solidFill>
                <a:srgbClr val="169AB4"/>
              </a:solidFill>
              <a:latin typeface="微软雅黑" charset="0"/>
              <a:ea typeface="微软雅黑" charset="0"/>
            </a:endParaRPr>
          </a:p>
        </p:txBody>
      </p:sp>
      <p:sp>
        <p:nvSpPr>
          <p:cNvPr id="5" name="Rectangle: Top Corners Rounded 4"/>
          <p:cNvSpPr/>
          <p:nvPr/>
        </p:nvSpPr>
        <p:spPr>
          <a:xfrm>
            <a:off x="648225" y="1100184"/>
            <a:ext cx="11075028" cy="459396"/>
          </a:xfrm>
          <a:prstGeom prst="round2SameRect">
            <a:avLst>
              <a:gd name="adj1" fmla="val 42442"/>
              <a:gd name="adj2" fmla="val 0"/>
            </a:avLst>
          </a:prstGeom>
          <a:solidFill>
            <a:schemeClr val="accent1"/>
          </a:solidFill>
          <a:ln w="28575">
            <a:solidFill>
              <a:schemeClr val="accent1"/>
            </a:solid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noAutofit/>
          </a:bodyPr>
          <a:lstStyle/>
          <a:p>
            <a:pPr algn="ctr">
              <a:spcAft>
                <a:spcPts val="300"/>
              </a:spcAft>
              <a:tabLst>
                <a:tab pos="690245" algn="l"/>
              </a:tabLst>
            </a:pPr>
            <a:r>
              <a:rPr lang="zh-CN" altLang="en-US" sz="1600" b="1" dirty="0">
                <a:solidFill>
                  <a:schemeClr val="bg1"/>
                </a:solidFill>
                <a:latin typeface="微软雅黑" charset="0"/>
                <a:ea typeface="微软雅黑" charset="0"/>
                <a:cs typeface="Noto Sans" panose="020B0502040504020204" pitchFamily="34"/>
              </a:rPr>
              <a:t>应用于眼部手术和激光手术前后，可有效控制不推荐使用类固醇的患者的眼部炎症</a:t>
            </a:r>
            <a:endParaRPr lang="zh-CN" altLang="en-US" sz="1600" b="1" dirty="0">
              <a:solidFill>
                <a:schemeClr val="bg1"/>
              </a:solidFill>
              <a:latin typeface="微软雅黑" charset="0"/>
              <a:ea typeface="微软雅黑" charset="0"/>
              <a:cs typeface="Noto Sans" panose="020B0502040504020204" pitchFamily="34"/>
            </a:endParaRPr>
          </a:p>
        </p:txBody>
      </p:sp>
      <p:sp>
        <p:nvSpPr>
          <p:cNvPr id="14" name="object 10"/>
          <p:cNvSpPr/>
          <p:nvPr/>
        </p:nvSpPr>
        <p:spPr>
          <a:xfrm>
            <a:off x="803275" y="5866602"/>
            <a:ext cx="10889311" cy="605318"/>
          </a:xfrm>
          <a:custGeom>
            <a:avLst/>
            <a:gdLst/>
            <a:ahLst/>
            <a:cxnLst/>
            <a:rect l="l" t="t" r="r" b="b"/>
            <a:pathLst>
              <a:path w="10384790" h="719454">
                <a:moveTo>
                  <a:pt x="10333240" y="0"/>
                </a:moveTo>
                <a:lnTo>
                  <a:pt x="0" y="0"/>
                </a:lnTo>
                <a:lnTo>
                  <a:pt x="0" y="668032"/>
                </a:lnTo>
                <a:lnTo>
                  <a:pt x="4030" y="688000"/>
                </a:lnTo>
                <a:lnTo>
                  <a:pt x="15022" y="704305"/>
                </a:lnTo>
                <a:lnTo>
                  <a:pt x="31327" y="715297"/>
                </a:lnTo>
                <a:lnTo>
                  <a:pt x="51295" y="719328"/>
                </a:lnTo>
                <a:lnTo>
                  <a:pt x="10384536" y="719328"/>
                </a:lnTo>
                <a:lnTo>
                  <a:pt x="10384536" y="51295"/>
                </a:lnTo>
                <a:lnTo>
                  <a:pt x="10380505" y="31327"/>
                </a:lnTo>
                <a:lnTo>
                  <a:pt x="10369513" y="15022"/>
                </a:lnTo>
                <a:lnTo>
                  <a:pt x="10353208" y="4030"/>
                </a:lnTo>
                <a:lnTo>
                  <a:pt x="10333240" y="0"/>
                </a:lnTo>
                <a:close/>
              </a:path>
            </a:pathLst>
          </a:custGeom>
          <a:solidFill>
            <a:schemeClr val="accent3">
              <a:lumMod val="40000"/>
              <a:lumOff val="60000"/>
            </a:schemeClr>
          </a:solidFill>
        </p:spPr>
        <p:txBody>
          <a:bodyPr wrap="square" lIns="457200" tIns="0" rIns="91440" bIns="0" rtlCol="0" anchor="ctr"/>
          <a:lstStyle/>
          <a:p>
            <a:pPr algn="ctr"/>
            <a:r>
              <a:rPr lang="zh-CN" altLang="en-US" sz="1600" b="1" dirty="0">
                <a:latin typeface="微软雅黑" charset="0"/>
                <a:ea typeface="微软雅黑" charset="0"/>
              </a:rPr>
              <a:t>应用于眼部手术和激光手术前后时，氟比洛芬钠抗炎效果与糖皮质激素相当，且无升高眼压风险，可作为单纯白内障手术后常规术后治疗的替代药物</a:t>
            </a:r>
            <a:endParaRPr sz="1600" b="1" dirty="0">
              <a:latin typeface="微软雅黑" charset="0"/>
              <a:ea typeface="微软雅黑" charset="0"/>
            </a:endParaRPr>
          </a:p>
        </p:txBody>
      </p:sp>
      <p:grpSp>
        <p:nvGrpSpPr>
          <p:cNvPr id="22" name="Group 21"/>
          <p:cNvGrpSpPr/>
          <p:nvPr/>
        </p:nvGrpSpPr>
        <p:grpSpPr>
          <a:xfrm>
            <a:off x="803576" y="1628531"/>
            <a:ext cx="5287485" cy="424236"/>
            <a:chOff x="803576" y="2047875"/>
            <a:chExt cx="5287485" cy="473744"/>
          </a:xfrm>
        </p:grpSpPr>
        <p:sp>
          <p:nvSpPr>
            <p:cNvPr id="10" name="object 25"/>
            <p:cNvSpPr txBox="1"/>
            <p:nvPr/>
          </p:nvSpPr>
          <p:spPr>
            <a:xfrm>
              <a:off x="803576" y="2060016"/>
              <a:ext cx="5287485" cy="419246"/>
            </a:xfrm>
            <a:prstGeom prst="rect">
              <a:avLst/>
            </a:prstGeom>
            <a:solidFill>
              <a:schemeClr val="bg1">
                <a:lumMod val="95000"/>
              </a:schemeClr>
            </a:solidFill>
          </p:spPr>
          <p:txBody>
            <a:bodyPr vert="horz" wrap="square" lIns="182880" tIns="0" rIns="18288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氟比洛芬钠</a:t>
              </a:r>
              <a:r>
                <a:rPr kumimoji="0" lang="en-US" altLang="zh-CN"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vs.</a:t>
              </a:r>
              <a:r>
                <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皮质类固醇氯替泼诺</a:t>
              </a:r>
              <a:endPar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endParaRPr>
            </a:p>
          </p:txBody>
        </p:sp>
        <p:sp>
          <p:nvSpPr>
            <p:cNvPr id="20" name="Half Frame 19"/>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sp>
          <p:nvSpPr>
            <p:cNvPr id="21" name="Half Frame 20"/>
            <p:cNvSpPr/>
            <p:nvPr/>
          </p:nvSpPr>
          <p:spPr>
            <a:xfrm rot="10800000">
              <a:off x="5857588" y="2288146"/>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grpSp>
      <p:sp>
        <p:nvSpPr>
          <p:cNvPr id="19" name="object 10"/>
          <p:cNvSpPr/>
          <p:nvPr/>
        </p:nvSpPr>
        <p:spPr>
          <a:xfrm>
            <a:off x="721570" y="5821309"/>
            <a:ext cx="380765" cy="479422"/>
          </a:xfrm>
          <a:prstGeom prst="rect">
            <a:avLst/>
          </a:prstGeom>
          <a:blipFill>
            <a:blip r:embed="rId4" cstate="print"/>
            <a:stretch>
              <a:fillRect/>
            </a:stretch>
          </a:blipFill>
        </p:spPr>
        <p:txBody>
          <a:bodyPr wrap="square" lIns="0" tIns="0" rIns="0" bIns="0" rtlCol="0"/>
          <a:lstStyle/>
          <a:p>
            <a:endParaRPr>
              <a:latin typeface="微软雅黑" charset="0"/>
              <a:ea typeface="微软雅黑" charset="0"/>
            </a:endParaRPr>
          </a:p>
        </p:txBody>
      </p:sp>
      <p:sp>
        <p:nvSpPr>
          <p:cNvPr id="23" name="Speech Bubble: Rectangle 22"/>
          <p:cNvSpPr/>
          <p:nvPr/>
        </p:nvSpPr>
        <p:spPr>
          <a:xfrm>
            <a:off x="3833605" y="3947154"/>
            <a:ext cx="2266023" cy="1636753"/>
          </a:xfrm>
          <a:prstGeom prst="wedgeRectCallout">
            <a:avLst>
              <a:gd name="adj1" fmla="val -64442"/>
              <a:gd name="adj2" fmla="val -21461"/>
            </a:avLst>
          </a:prstGeom>
          <a:solidFill>
            <a:schemeClr val="accent1">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nchorCtr="0"/>
          <a:lstStyle/>
          <a:p>
            <a:r>
              <a:rPr lang="zh-CN" altLang="en-US" sz="1400" b="1" dirty="0">
                <a:solidFill>
                  <a:schemeClr val="tx1"/>
                </a:solidFill>
                <a:latin typeface="微软雅黑" charset="0"/>
                <a:ea typeface="微软雅黑" charset="0"/>
                <a:cs typeface="Arial" panose="020B0604020202090204" pitchFamily="34" charset="0"/>
              </a:rPr>
              <a:t>不良反应对比：</a:t>
            </a:r>
            <a:endParaRPr lang="en-US" altLang="zh-CN" sz="1400" b="1" dirty="0">
              <a:solidFill>
                <a:schemeClr val="tx1"/>
              </a:solidFill>
              <a:latin typeface="微软雅黑" charset="0"/>
              <a:ea typeface="微软雅黑" charset="0"/>
              <a:cs typeface="Arial" panose="020B0604020202090204" pitchFamily="34" charset="0"/>
            </a:endParaRPr>
          </a:p>
          <a:p>
            <a:r>
              <a:rPr lang="zh-CN" altLang="en-US" sz="1400" dirty="0">
                <a:solidFill>
                  <a:schemeClr val="tx1"/>
                </a:solidFill>
                <a:latin typeface="微软雅黑" charset="0"/>
                <a:ea typeface="微软雅黑" charset="0"/>
                <a:cs typeface="Arial" panose="020B0604020202090204" pitchFamily="34" charset="0"/>
              </a:rPr>
              <a:t>氟比洛芬钠组不良反应发生率与氯替泼诺组相当，且</a:t>
            </a:r>
            <a:r>
              <a:rPr lang="zh-CN" altLang="en-US" sz="1400" dirty="0">
                <a:solidFill>
                  <a:srgbClr val="302E5D"/>
                </a:solidFill>
                <a:latin typeface="微软雅黑" charset="0"/>
                <a:ea typeface="微软雅黑" charset="0"/>
                <a:cs typeface="Arial" panose="020B0604020202090204" pitchFamily="34" charset="0"/>
              </a:rPr>
              <a:t>均为短暂、自限性的轻微症状，耐受性良好。</a:t>
            </a:r>
            <a:endParaRPr lang="zh-CN" altLang="en-US" sz="1400" dirty="0">
              <a:solidFill>
                <a:srgbClr val="302E5D"/>
              </a:solidFill>
              <a:latin typeface="微软雅黑" charset="0"/>
              <a:ea typeface="微软雅黑" charset="0"/>
              <a:cs typeface="Arial" panose="020B0604020202090204" pitchFamily="34" charset="0"/>
            </a:endParaRPr>
          </a:p>
        </p:txBody>
      </p:sp>
      <p:sp>
        <p:nvSpPr>
          <p:cNvPr id="7"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安全性</a:t>
            </a:r>
            <a:endParaRPr lang="zh-CN" altLang="en-US" sz="1400" b="1">
              <a:latin typeface="微软雅黑" charset="0"/>
              <a:ea typeface="微软雅黑" charset="0"/>
            </a:endParaRPr>
          </a:p>
        </p:txBody>
      </p:sp>
      <p:sp>
        <p:nvSpPr>
          <p:cNvPr id="8" name="Rectangle: Top Corners Rounded 40"/>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有效性</a:t>
            </a:r>
            <a:endParaRPr lang="zh-CN" altLang="en-US" sz="1400" b="1">
              <a:latin typeface="微软雅黑" charset="0"/>
              <a:ea typeface="微软雅黑" charset="0"/>
            </a:endParaRPr>
          </a:p>
        </p:txBody>
      </p:sp>
      <p:sp>
        <p:nvSpPr>
          <p:cNvPr id="6"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latin typeface="微软雅黑" charset="0"/>
                <a:ea typeface="微软雅黑" charset="0"/>
              </a:rPr>
              <a:t>5</a:t>
            </a:r>
            <a:endParaRPr lang="en-US" sz="1000" b="1">
              <a:solidFill>
                <a:schemeClr val="bg1"/>
              </a:solidFill>
              <a:latin typeface="微软雅黑" charset="0"/>
              <a:ea typeface="微软雅黑" charset="0"/>
            </a:endParaRPr>
          </a:p>
        </p:txBody>
      </p:sp>
      <p:pic>
        <p:nvPicPr>
          <p:cNvPr id="11" name="图片 10"/>
          <p:cNvPicPr>
            <a:picLocks noChangeAspect="1"/>
          </p:cNvPicPr>
          <p:nvPr/>
        </p:nvPicPr>
        <p:blipFill>
          <a:blip r:embed="rId5"/>
          <a:stretch>
            <a:fillRect/>
          </a:stretch>
        </p:blipFill>
        <p:spPr>
          <a:xfrm>
            <a:off x="803275" y="2070171"/>
            <a:ext cx="2723929" cy="1578413"/>
          </a:xfrm>
          <a:prstGeom prst="rect">
            <a:avLst/>
          </a:prstGeom>
        </p:spPr>
      </p:pic>
      <p:sp>
        <p:nvSpPr>
          <p:cNvPr id="9" name="Speech Bubble: Rectangle 8"/>
          <p:cNvSpPr/>
          <p:nvPr/>
        </p:nvSpPr>
        <p:spPr>
          <a:xfrm>
            <a:off x="3833605" y="2099679"/>
            <a:ext cx="2266023" cy="1501360"/>
          </a:xfrm>
          <a:prstGeom prst="wedgeRectCallout">
            <a:avLst>
              <a:gd name="adj1" fmla="val -64442"/>
              <a:gd name="adj2" fmla="val -21461"/>
            </a:avLst>
          </a:prstGeom>
          <a:solidFill>
            <a:schemeClr val="accent1">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nchorCtr="0"/>
          <a:lstStyle/>
          <a:p>
            <a:r>
              <a:rPr lang="zh-CN" altLang="en-US" sz="1400" b="1" dirty="0">
                <a:solidFill>
                  <a:schemeClr val="tx1"/>
                </a:solidFill>
                <a:latin typeface="微软雅黑" charset="0"/>
                <a:ea typeface="微软雅黑" charset="0"/>
                <a:cs typeface="Arial" panose="020B0604020202090204" pitchFamily="34" charset="0"/>
              </a:rPr>
              <a:t>整体趋势对比：</a:t>
            </a:r>
            <a:endParaRPr lang="en-US" altLang="zh-CN" sz="1400" b="1" dirty="0">
              <a:solidFill>
                <a:schemeClr val="tx1"/>
              </a:solidFill>
              <a:latin typeface="微软雅黑" charset="0"/>
              <a:ea typeface="微软雅黑" charset="0"/>
              <a:cs typeface="Arial" panose="020B0604020202090204" pitchFamily="34" charset="0"/>
            </a:endParaRPr>
          </a:p>
          <a:p>
            <a:r>
              <a:rPr lang="zh-CN" altLang="en-US" sz="1400" dirty="0">
                <a:solidFill>
                  <a:schemeClr val="tx1"/>
                </a:solidFill>
                <a:latin typeface="微软雅黑" charset="0"/>
                <a:ea typeface="微软雅黑" charset="0"/>
                <a:cs typeface="Arial" panose="020B0604020202090204" pitchFamily="34" charset="0"/>
              </a:rPr>
              <a:t>氟比洛芬钠组与氯替泼诺组的充血恢复曲线高度重合，全程无明显差异，</a:t>
            </a:r>
            <a:r>
              <a:rPr lang="zh-CN" altLang="en-US" sz="1400" dirty="0">
                <a:solidFill>
                  <a:srgbClr val="302E5D"/>
                </a:solidFill>
                <a:latin typeface="微软雅黑" charset="0"/>
                <a:ea typeface="微软雅黑" charset="0"/>
                <a:cs typeface="Arial" panose="020B0604020202090204" pitchFamily="34" charset="0"/>
              </a:rPr>
              <a:t>说明两者在控制术后结膜充血方面效果相当。</a:t>
            </a:r>
            <a:endParaRPr lang="zh-CN" altLang="en-US" sz="1400" dirty="0">
              <a:solidFill>
                <a:srgbClr val="302E5D"/>
              </a:solidFill>
              <a:latin typeface="微软雅黑" charset="0"/>
              <a:ea typeface="微软雅黑" charset="0"/>
              <a:cs typeface="Arial" panose="020B0604020202090204" pitchFamily="34" charset="0"/>
            </a:endParaRPr>
          </a:p>
        </p:txBody>
      </p:sp>
      <p:pic>
        <p:nvPicPr>
          <p:cNvPr id="15" name="图片 14"/>
          <p:cNvPicPr>
            <a:picLocks noChangeAspect="1"/>
          </p:cNvPicPr>
          <p:nvPr/>
        </p:nvPicPr>
        <p:blipFill>
          <a:blip r:embed="rId6"/>
          <a:stretch>
            <a:fillRect/>
          </a:stretch>
        </p:blipFill>
        <p:spPr>
          <a:xfrm>
            <a:off x="983052" y="3959078"/>
            <a:ext cx="2436565" cy="1624829"/>
          </a:xfrm>
          <a:prstGeom prst="rect">
            <a:avLst/>
          </a:prstGeom>
        </p:spPr>
      </p:pic>
      <p:sp>
        <p:nvSpPr>
          <p:cNvPr id="16" name="文本框 15"/>
          <p:cNvSpPr txBox="1"/>
          <p:nvPr/>
        </p:nvSpPr>
        <p:spPr>
          <a:xfrm>
            <a:off x="892029" y="3591746"/>
            <a:ext cx="2555289" cy="261610"/>
          </a:xfrm>
          <a:prstGeom prst="rect">
            <a:avLst/>
          </a:prstGeom>
          <a:noFill/>
        </p:spPr>
        <p:txBody>
          <a:bodyPr wrap="square">
            <a:spAutoFit/>
          </a:bodyPr>
          <a:lstStyle/>
          <a:p>
            <a:pPr algn="ctr"/>
            <a:r>
              <a:rPr lang="zh-CN" altLang="zh-CN" sz="1100" b="1" dirty="0">
                <a:solidFill>
                  <a:srgbClr val="302E5D"/>
                </a:solidFill>
                <a:latin typeface="微软雅黑" charset="0"/>
                <a:ea typeface="微软雅黑" charset="0"/>
                <a:cs typeface="Times New Roman" panose="02020503050405090304" charset="0"/>
              </a:rPr>
              <a:t>结膜充血平均评分比较</a:t>
            </a:r>
            <a:endParaRPr lang="zh-CN" altLang="zh-CN" sz="1100" b="1" dirty="0">
              <a:solidFill>
                <a:srgbClr val="302E5D"/>
              </a:solidFill>
              <a:latin typeface="微软雅黑" charset="0"/>
              <a:ea typeface="微软雅黑" charset="0"/>
              <a:cs typeface="Times New Roman" panose="02020503050405090304" charset="0"/>
            </a:endParaRPr>
          </a:p>
        </p:txBody>
      </p:sp>
      <p:sp>
        <p:nvSpPr>
          <p:cNvPr id="24" name="文本框 23"/>
          <p:cNvSpPr txBox="1"/>
          <p:nvPr/>
        </p:nvSpPr>
        <p:spPr>
          <a:xfrm>
            <a:off x="1437394" y="5512787"/>
            <a:ext cx="1468712" cy="261610"/>
          </a:xfrm>
          <a:prstGeom prst="rect">
            <a:avLst/>
          </a:prstGeom>
          <a:noFill/>
        </p:spPr>
        <p:txBody>
          <a:bodyPr wrap="square">
            <a:spAutoFit/>
          </a:bodyPr>
          <a:lstStyle/>
          <a:p>
            <a:pPr algn="ctr"/>
            <a:r>
              <a:rPr lang="zh-CN" altLang="en-US" sz="1100" b="1" dirty="0">
                <a:solidFill>
                  <a:srgbClr val="302E5D"/>
                </a:solidFill>
                <a:latin typeface="微软雅黑" charset="0"/>
                <a:ea typeface="微软雅黑" charset="0"/>
                <a:cs typeface="Times New Roman" panose="02020503050405090304" charset="0"/>
              </a:rPr>
              <a:t>不良反应</a:t>
            </a:r>
            <a:r>
              <a:rPr lang="zh-CN" altLang="zh-CN" sz="1100" b="1" dirty="0">
                <a:solidFill>
                  <a:srgbClr val="302E5D"/>
                </a:solidFill>
                <a:effectLst/>
                <a:latin typeface="微软雅黑" charset="0"/>
                <a:ea typeface="微软雅黑" charset="0"/>
                <a:cs typeface="Times New Roman" panose="02020503050405090304" charset="0"/>
              </a:rPr>
              <a:t>比较</a:t>
            </a:r>
            <a:endParaRPr lang="zh-CN" altLang="zh-CN" sz="1100" b="1" dirty="0">
              <a:solidFill>
                <a:srgbClr val="302E5D"/>
              </a:solidFill>
              <a:effectLst/>
              <a:latin typeface="微软雅黑" charset="0"/>
              <a:ea typeface="微软雅黑" charset="0"/>
              <a:cs typeface="Times New Roman" panose="02020503050405090304" charset="0"/>
            </a:endParaRPr>
          </a:p>
        </p:txBody>
      </p:sp>
      <p:grpSp>
        <p:nvGrpSpPr>
          <p:cNvPr id="25" name="Group 21"/>
          <p:cNvGrpSpPr/>
          <p:nvPr/>
        </p:nvGrpSpPr>
        <p:grpSpPr>
          <a:xfrm>
            <a:off x="6246413" y="1634034"/>
            <a:ext cx="5297363" cy="446970"/>
            <a:chOff x="803576" y="2047875"/>
            <a:chExt cx="3839411" cy="446970"/>
          </a:xfrm>
        </p:grpSpPr>
        <p:sp>
          <p:nvSpPr>
            <p:cNvPr id="26" name="object 25"/>
            <p:cNvSpPr txBox="1"/>
            <p:nvPr/>
          </p:nvSpPr>
          <p:spPr>
            <a:xfrm>
              <a:off x="803576" y="2060016"/>
              <a:ext cx="3815190" cy="368661"/>
            </a:xfrm>
            <a:prstGeom prst="rect">
              <a:avLst/>
            </a:prstGeom>
            <a:solidFill>
              <a:schemeClr val="bg1">
                <a:lumMod val="95000"/>
              </a:schemeClr>
            </a:solidFill>
          </p:spPr>
          <p:txBody>
            <a:bodyPr vert="horz" wrap="square" lIns="182880" tIns="0" rIns="18288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氟比洛芬钠</a:t>
              </a:r>
              <a:r>
                <a:rPr kumimoji="0" lang="en-US" altLang="zh-CN"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vs.</a:t>
              </a:r>
              <a:r>
                <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rPr>
                <a:t>糖皮质激素</a:t>
              </a:r>
              <a:endParaRPr kumimoji="0" lang="zh-CN" altLang="en-US" sz="1600" b="1" i="0" u="none" strike="noStrike" kern="1200" cap="none" spc="0" normalizeH="0" baseline="0" noProof="0" dirty="0">
                <a:ln>
                  <a:noFill/>
                </a:ln>
                <a:solidFill>
                  <a:srgbClr val="302E5D"/>
                </a:solidFill>
                <a:effectLst/>
                <a:uLnTx/>
                <a:uFillTx/>
                <a:latin typeface="微软雅黑" charset="0"/>
                <a:ea typeface="微软雅黑" charset="0"/>
                <a:cs typeface="Arial" panose="020B0604020202090204" pitchFamily="34" charset="0"/>
              </a:endParaRPr>
            </a:p>
          </p:txBody>
        </p:sp>
        <p:sp>
          <p:nvSpPr>
            <p:cNvPr id="27" name="Half Frame 19"/>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rgbClr val="302E5D"/>
                </a:solidFill>
                <a:latin typeface="微软雅黑" charset="0"/>
                <a:ea typeface="微软雅黑" charset="0"/>
              </a:endParaRPr>
            </a:p>
          </p:txBody>
        </p:sp>
        <p:sp>
          <p:nvSpPr>
            <p:cNvPr id="28" name="Half Frame 20"/>
            <p:cNvSpPr/>
            <p:nvPr/>
          </p:nvSpPr>
          <p:spPr>
            <a:xfrm rot="10800000">
              <a:off x="4409514" y="2261372"/>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rgbClr val="302E5D"/>
                </a:solidFill>
                <a:latin typeface="微软雅黑" charset="0"/>
                <a:ea typeface="微软雅黑" charset="0"/>
              </a:endParaRPr>
            </a:p>
          </p:txBody>
        </p:sp>
      </p:grpSp>
      <p:graphicFrame>
        <p:nvGraphicFramePr>
          <p:cNvPr id="29" name="表格 28"/>
          <p:cNvGraphicFramePr/>
          <p:nvPr>
            <p:custDataLst>
              <p:tags r:id="rId7"/>
            </p:custDataLst>
          </p:nvPr>
        </p:nvGraphicFramePr>
        <p:xfrm>
          <a:off x="6420092" y="3576259"/>
          <a:ext cx="4982696" cy="2007649"/>
        </p:xfrm>
        <a:graphic>
          <a:graphicData uri="http://schemas.openxmlformats.org/drawingml/2006/table">
            <a:tbl>
              <a:tblPr>
                <a:tableStyleId>{5C22544A-7EE6-4342-B048-85BDC9FD1C3A}</a:tableStyleId>
              </a:tblPr>
              <a:tblGrid>
                <a:gridCol w="755727"/>
                <a:gridCol w="1035551"/>
                <a:gridCol w="1603368"/>
                <a:gridCol w="1588050"/>
              </a:tblGrid>
              <a:tr h="286807">
                <a:tc>
                  <a:txBody>
                    <a:bodyPr/>
                    <a:lstStyle/>
                    <a:p>
                      <a:pPr algn="ctr" fontAlgn="ctr"/>
                      <a:endParaRPr sz="1400">
                        <a:solidFill>
                          <a:schemeClr val="bg1"/>
                        </a:solidFill>
                        <a:latin typeface="微软雅黑" charset="0"/>
                        <a:ea typeface="微软雅黑" charset="0"/>
                      </a:endParaRPr>
                    </a:p>
                  </a:txBody>
                  <a:tcPr marL="13017" marR="13017" marT="13017" marB="0" anchor="ctr">
                    <a:solidFill>
                      <a:schemeClr val="accent1">
                        <a:lumMod val="75000"/>
                      </a:schemeClr>
                    </a:solidFill>
                  </a:tcPr>
                </a:tc>
                <a:tc>
                  <a:txBody>
                    <a:bodyPr/>
                    <a:lstStyle/>
                    <a:p>
                      <a:pPr algn="ctr" fontAlgn="ctr"/>
                      <a:endParaRPr sz="1400">
                        <a:solidFill>
                          <a:schemeClr val="bg1"/>
                        </a:solidFill>
                        <a:latin typeface="微软雅黑" charset="0"/>
                        <a:ea typeface="微软雅黑" charset="0"/>
                      </a:endParaRPr>
                    </a:p>
                  </a:txBody>
                  <a:tcPr marL="13017" marR="13017" marT="13017" marB="0" anchor="ctr">
                    <a:solidFill>
                      <a:schemeClr val="accent1">
                        <a:lumMod val="75000"/>
                      </a:schemeClr>
                    </a:solidFill>
                  </a:tcPr>
                </a:tc>
                <a:tc>
                  <a:txBody>
                    <a:bodyPr/>
                    <a:lstStyle/>
                    <a:p>
                      <a:pPr algn="ctr" fontAlgn="ctr"/>
                      <a:r>
                        <a:rPr lang="zh-CN" altLang="en-US" sz="1400" b="1" dirty="0">
                          <a:solidFill>
                            <a:schemeClr val="bg1"/>
                          </a:solidFill>
                          <a:latin typeface="微软雅黑" charset="0"/>
                          <a:ea typeface="微软雅黑" charset="0"/>
                          <a:cs typeface="微软雅黑" charset="0"/>
                        </a:rPr>
                        <a:t>术后</a:t>
                      </a:r>
                      <a:r>
                        <a:rPr lang="en-US" altLang="zh-CN" sz="1400" b="1" dirty="0">
                          <a:solidFill>
                            <a:schemeClr val="bg1"/>
                          </a:solidFill>
                          <a:latin typeface="微软雅黑" charset="0"/>
                          <a:ea typeface="微软雅黑" charset="0"/>
                          <a:cs typeface="微软雅黑" charset="0"/>
                        </a:rPr>
                        <a:t>14</a:t>
                      </a:r>
                      <a:r>
                        <a:rPr lang="zh-CN" altLang="en-US" sz="1400" b="1" dirty="0">
                          <a:solidFill>
                            <a:schemeClr val="bg1"/>
                          </a:solidFill>
                          <a:latin typeface="微软雅黑" charset="0"/>
                          <a:ea typeface="微软雅黑" charset="0"/>
                          <a:cs typeface="微软雅黑" charset="0"/>
                        </a:rPr>
                        <a:t>天</a:t>
                      </a:r>
                      <a:endParaRPr lang="zh-CN" altLang="en-US" sz="1400" b="1" dirty="0">
                        <a:solidFill>
                          <a:schemeClr val="bg1"/>
                        </a:solidFill>
                        <a:latin typeface="微软雅黑" charset="0"/>
                        <a:ea typeface="微软雅黑" charset="0"/>
                        <a:cs typeface="微软雅黑" charset="0"/>
                      </a:endParaRPr>
                    </a:p>
                  </a:txBody>
                  <a:tcPr marL="13017" marR="13017" marT="13017" marB="0" anchor="ctr">
                    <a:solidFill>
                      <a:schemeClr val="accent1">
                        <a:lumMod val="75000"/>
                      </a:schemeClr>
                    </a:solidFill>
                  </a:tcPr>
                </a:tc>
                <a:tc>
                  <a:txBody>
                    <a:bodyPr/>
                    <a:lstStyle/>
                    <a:p>
                      <a:pPr algn="ctr" fontAlgn="ctr"/>
                      <a:r>
                        <a:rPr lang="zh-CN" altLang="en-US" sz="1400" b="1" dirty="0">
                          <a:solidFill>
                            <a:schemeClr val="bg1"/>
                          </a:solidFill>
                          <a:latin typeface="微软雅黑" charset="0"/>
                          <a:ea typeface="微软雅黑" charset="0"/>
                          <a:cs typeface="微软雅黑" charset="0"/>
                        </a:rPr>
                        <a:t>术后</a:t>
                      </a:r>
                      <a:r>
                        <a:rPr lang="en-US" altLang="zh-CN" sz="1400" b="1" dirty="0">
                          <a:solidFill>
                            <a:schemeClr val="bg1"/>
                          </a:solidFill>
                          <a:latin typeface="微软雅黑" charset="0"/>
                          <a:ea typeface="微软雅黑" charset="0"/>
                          <a:cs typeface="微软雅黑" charset="0"/>
                        </a:rPr>
                        <a:t>30</a:t>
                      </a:r>
                      <a:r>
                        <a:rPr lang="zh-CN" altLang="en-US" sz="1400" b="1" dirty="0">
                          <a:solidFill>
                            <a:schemeClr val="bg1"/>
                          </a:solidFill>
                          <a:latin typeface="微软雅黑" charset="0"/>
                          <a:ea typeface="微软雅黑" charset="0"/>
                          <a:cs typeface="微软雅黑" charset="0"/>
                        </a:rPr>
                        <a:t>天</a:t>
                      </a:r>
                      <a:endParaRPr lang="zh-CN" altLang="en-US" sz="1400" b="1" dirty="0">
                        <a:solidFill>
                          <a:schemeClr val="bg1"/>
                        </a:solidFill>
                        <a:latin typeface="微软雅黑" charset="0"/>
                        <a:ea typeface="微软雅黑" charset="0"/>
                        <a:cs typeface="微软雅黑" charset="0"/>
                      </a:endParaRPr>
                    </a:p>
                  </a:txBody>
                  <a:tcPr marL="13017" marR="13017" marT="13017" marB="0" anchor="ctr">
                    <a:solidFill>
                      <a:schemeClr val="accent1">
                        <a:lumMod val="75000"/>
                      </a:schemeClr>
                    </a:solidFill>
                  </a:tcPr>
                </a:tc>
              </a:tr>
              <a:tr h="286807">
                <a:tc rowSpan="3">
                  <a:txBody>
                    <a:bodyPr/>
                    <a:lstStyle/>
                    <a:p>
                      <a:pPr algn="ctr" fontAlgn="ctr"/>
                      <a:r>
                        <a:rPr lang="zh-CN" altLang="en-US" sz="1400">
                          <a:latin typeface="微软雅黑" charset="0"/>
                          <a:ea typeface="微软雅黑" charset="0"/>
                        </a:rPr>
                        <a:t>对照组</a:t>
                      </a:r>
                      <a:endParaRPr lang="zh-CN" altLang="en-US" sz="1400">
                        <a:latin typeface="微软雅黑" charset="0"/>
                        <a:ea typeface="微软雅黑" charset="0"/>
                      </a:endParaRPr>
                    </a:p>
                  </a:txBody>
                  <a:tcPr marL="13017" marR="13017" marT="13017" marB="0" anchor="ctr">
                    <a:solidFill>
                      <a:schemeClr val="accent1">
                        <a:lumMod val="40000"/>
                        <a:lumOff val="60000"/>
                      </a:schemeClr>
                    </a:solidFill>
                  </a:tcPr>
                </a:tc>
                <a:tc>
                  <a:txBody>
                    <a:bodyPr/>
                    <a:lstStyle/>
                    <a:p>
                      <a:pPr algn="ctr" fontAlgn="ctr"/>
                      <a:r>
                        <a:rPr lang="zh-CN" altLang="en-US" sz="1400">
                          <a:latin typeface="微软雅黑" charset="0"/>
                          <a:ea typeface="微软雅黑" charset="0"/>
                        </a:rPr>
                        <a:t>房水闪辉</a:t>
                      </a:r>
                      <a:endParaRPr lang="zh-CN" altLang="en-US" sz="1400">
                        <a:latin typeface="微软雅黑" charset="0"/>
                        <a:ea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dirty="0">
                          <a:latin typeface="微软雅黑" charset="0"/>
                          <a:ea typeface="微软雅黑" charset="0"/>
                          <a:cs typeface="微软雅黑" charset="0"/>
                        </a:rPr>
                        <a:t>7.6±4.6</a:t>
                      </a:r>
                      <a:endParaRPr lang="en-US" altLang="zh-CN" sz="1400" dirty="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a:latin typeface="微软雅黑" charset="0"/>
                          <a:ea typeface="微软雅黑" charset="0"/>
                          <a:cs typeface="微软雅黑" charset="0"/>
                        </a:rPr>
                        <a:t>6.6±4.2</a:t>
                      </a:r>
                      <a:endParaRPr lang="en-US" altLang="zh-CN" sz="140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r>
              <a:tr h="286807">
                <a:tc vMerge="1">
                  <a:tcPr marL="13017" marR="13017" marT="13017" marB="0" anchor="ctr"/>
                </a:tc>
                <a:tc>
                  <a:txBody>
                    <a:bodyPr/>
                    <a:lstStyle/>
                    <a:p>
                      <a:pPr algn="ctr" fontAlgn="ctr"/>
                      <a:r>
                        <a:rPr lang="zh-CN" altLang="en-US" sz="1400">
                          <a:latin typeface="微软雅黑" charset="0"/>
                          <a:ea typeface="微软雅黑" charset="0"/>
                        </a:rPr>
                        <a:t>房水细胞</a:t>
                      </a:r>
                      <a:endParaRPr lang="zh-CN" altLang="en-US" sz="1400">
                        <a:latin typeface="微软雅黑" charset="0"/>
                        <a:ea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a:latin typeface="微软雅黑" charset="0"/>
                          <a:ea typeface="微软雅黑" charset="0"/>
                          <a:cs typeface="微软雅黑" charset="0"/>
                        </a:rPr>
                        <a:t>9.8±19.6</a:t>
                      </a:r>
                      <a:endParaRPr lang="en-US" altLang="zh-CN" sz="140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a:latin typeface="微软雅黑" charset="0"/>
                          <a:ea typeface="微软雅黑" charset="0"/>
                          <a:cs typeface="微软雅黑" charset="0"/>
                        </a:rPr>
                        <a:t>8.3±3.6</a:t>
                      </a:r>
                      <a:endParaRPr lang="en-US" altLang="zh-CN" sz="140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r>
              <a:tr h="286807">
                <a:tc vMerge="1">
                  <a:tcPr marL="13017" marR="13017" marT="13017" marB="0" anchor="ctr"/>
                </a:tc>
                <a:tc>
                  <a:txBody>
                    <a:bodyPr/>
                    <a:lstStyle/>
                    <a:p>
                      <a:pPr algn="ctr" fontAlgn="ctr"/>
                      <a:r>
                        <a:rPr lang="zh-CN" altLang="en-US" sz="1400">
                          <a:latin typeface="微软雅黑" charset="0"/>
                          <a:ea typeface="微软雅黑" charset="0"/>
                        </a:rPr>
                        <a:t>眼压</a:t>
                      </a:r>
                      <a:endParaRPr lang="zh-CN" altLang="en-US" sz="1400">
                        <a:latin typeface="微软雅黑" charset="0"/>
                        <a:ea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dirty="0">
                          <a:latin typeface="微软雅黑" charset="0"/>
                          <a:ea typeface="微软雅黑" charset="0"/>
                          <a:cs typeface="微软雅黑" charset="0"/>
                        </a:rPr>
                        <a:t>15.7±2.6mmHg</a:t>
                      </a:r>
                      <a:endParaRPr lang="en-US" altLang="zh-CN" sz="1400" dirty="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c>
                  <a:txBody>
                    <a:bodyPr/>
                    <a:lstStyle/>
                    <a:p>
                      <a:pPr algn="ctr" fontAlgn="ctr"/>
                      <a:r>
                        <a:rPr lang="en-US" altLang="zh-CN" sz="1400">
                          <a:latin typeface="微软雅黑" charset="0"/>
                          <a:ea typeface="微软雅黑" charset="0"/>
                          <a:cs typeface="微软雅黑" charset="0"/>
                        </a:rPr>
                        <a:t>15.7±2.6mmHg</a:t>
                      </a:r>
                      <a:endParaRPr lang="en-US" altLang="zh-CN" sz="1400">
                        <a:latin typeface="微软雅黑" charset="0"/>
                        <a:ea typeface="微软雅黑" charset="0"/>
                        <a:cs typeface="微软雅黑" charset="0"/>
                      </a:endParaRPr>
                    </a:p>
                  </a:txBody>
                  <a:tcPr marL="13017" marR="13017" marT="13017" marB="0" anchor="ctr">
                    <a:solidFill>
                      <a:schemeClr val="accent1">
                        <a:lumMod val="40000"/>
                        <a:lumOff val="60000"/>
                      </a:schemeClr>
                    </a:solidFill>
                  </a:tcPr>
                </a:tc>
              </a:tr>
              <a:tr h="286807">
                <a:tc rowSpan="3">
                  <a:txBody>
                    <a:bodyPr/>
                    <a:lstStyle/>
                    <a:p>
                      <a:pPr algn="ctr" fontAlgn="ctr"/>
                      <a:r>
                        <a:rPr lang="zh-CN" altLang="en-US" sz="1400">
                          <a:latin typeface="微软雅黑" charset="0"/>
                          <a:ea typeface="微软雅黑" charset="0"/>
                        </a:rPr>
                        <a:t>实验组</a:t>
                      </a:r>
                      <a:endParaRPr lang="zh-CN" altLang="en-US" sz="1400">
                        <a:latin typeface="微软雅黑" charset="0"/>
                        <a:ea typeface="微软雅黑" charset="0"/>
                      </a:endParaRPr>
                    </a:p>
                  </a:txBody>
                  <a:tcPr marL="13017" marR="13017" marT="13017" marB="0" anchor="ctr"/>
                </a:tc>
                <a:tc>
                  <a:txBody>
                    <a:bodyPr/>
                    <a:lstStyle/>
                    <a:p>
                      <a:pPr algn="ctr" fontAlgn="ctr"/>
                      <a:r>
                        <a:rPr lang="zh-CN" altLang="en-US" sz="1400">
                          <a:latin typeface="微软雅黑" charset="0"/>
                          <a:ea typeface="微软雅黑" charset="0"/>
                        </a:rPr>
                        <a:t>房水闪辉</a:t>
                      </a:r>
                      <a:endParaRPr lang="zh-CN" altLang="en-US" sz="1400">
                        <a:latin typeface="微软雅黑" charset="0"/>
                        <a:ea typeface="微软雅黑" charset="0"/>
                      </a:endParaRPr>
                    </a:p>
                  </a:txBody>
                  <a:tcPr marL="13017" marR="13017" marT="13017" marB="0" anchor="ctr"/>
                </a:tc>
                <a:tc>
                  <a:txBody>
                    <a:bodyPr/>
                    <a:lstStyle/>
                    <a:p>
                      <a:pPr algn="ctr" fontAlgn="ctr"/>
                      <a:r>
                        <a:rPr lang="en-US" altLang="zh-CN" sz="1400" dirty="0">
                          <a:latin typeface="微软雅黑" charset="0"/>
                          <a:ea typeface="微软雅黑" charset="0"/>
                          <a:cs typeface="微软雅黑" charset="0"/>
                        </a:rPr>
                        <a:t>3.8±2.4</a:t>
                      </a:r>
                      <a:endParaRPr lang="en-US" altLang="zh-CN" sz="1400" dirty="0">
                        <a:latin typeface="微软雅黑" charset="0"/>
                        <a:ea typeface="微软雅黑" charset="0"/>
                        <a:cs typeface="微软雅黑" charset="0"/>
                      </a:endParaRPr>
                    </a:p>
                  </a:txBody>
                  <a:tcPr marL="13017" marR="13017" marT="13017" marB="0" anchor="ctr"/>
                </a:tc>
                <a:tc>
                  <a:txBody>
                    <a:bodyPr/>
                    <a:lstStyle/>
                    <a:p>
                      <a:pPr algn="ctr" fontAlgn="ctr"/>
                      <a:r>
                        <a:rPr lang="en-US" altLang="zh-CN" sz="1400">
                          <a:latin typeface="微软雅黑" charset="0"/>
                          <a:ea typeface="微软雅黑" charset="0"/>
                          <a:cs typeface="微软雅黑" charset="0"/>
                        </a:rPr>
                        <a:t>4.1±4.3</a:t>
                      </a:r>
                      <a:endParaRPr lang="en-US" altLang="zh-CN" sz="1400">
                        <a:latin typeface="微软雅黑" charset="0"/>
                        <a:ea typeface="微软雅黑" charset="0"/>
                        <a:cs typeface="微软雅黑" charset="0"/>
                      </a:endParaRPr>
                    </a:p>
                  </a:txBody>
                  <a:tcPr marL="13017" marR="13017" marT="13017" marB="0" anchor="ctr"/>
                </a:tc>
              </a:tr>
              <a:tr h="286807">
                <a:tc vMerge="1">
                  <a:tcPr marL="13017" marR="13017" marT="13017" marB="0" anchor="ctr"/>
                </a:tc>
                <a:tc>
                  <a:txBody>
                    <a:bodyPr/>
                    <a:lstStyle/>
                    <a:p>
                      <a:pPr algn="ctr" fontAlgn="ctr"/>
                      <a:r>
                        <a:rPr lang="zh-CN" altLang="en-US" sz="1400">
                          <a:latin typeface="微软雅黑" charset="0"/>
                          <a:ea typeface="微软雅黑" charset="0"/>
                        </a:rPr>
                        <a:t>房水细胞</a:t>
                      </a:r>
                      <a:endParaRPr lang="zh-CN" altLang="en-US" sz="1400">
                        <a:latin typeface="微软雅黑" charset="0"/>
                        <a:ea typeface="微软雅黑" charset="0"/>
                      </a:endParaRPr>
                    </a:p>
                  </a:txBody>
                  <a:tcPr marL="13017" marR="13017" marT="13017" marB="0" anchor="ctr"/>
                </a:tc>
                <a:tc>
                  <a:txBody>
                    <a:bodyPr/>
                    <a:lstStyle/>
                    <a:p>
                      <a:pPr algn="ctr" fontAlgn="ctr"/>
                      <a:r>
                        <a:rPr lang="en-US" altLang="zh-CN" sz="1400">
                          <a:latin typeface="微软雅黑" charset="0"/>
                          <a:ea typeface="微软雅黑" charset="0"/>
                          <a:cs typeface="微软雅黑" charset="0"/>
                        </a:rPr>
                        <a:t>6.72±1.4</a:t>
                      </a:r>
                      <a:endParaRPr lang="en-US" altLang="zh-CN" sz="1400">
                        <a:latin typeface="微软雅黑" charset="0"/>
                        <a:ea typeface="微软雅黑" charset="0"/>
                        <a:cs typeface="微软雅黑" charset="0"/>
                      </a:endParaRPr>
                    </a:p>
                  </a:txBody>
                  <a:tcPr marL="13017" marR="13017" marT="13017" marB="0" anchor="ctr"/>
                </a:tc>
                <a:tc>
                  <a:txBody>
                    <a:bodyPr/>
                    <a:lstStyle/>
                    <a:p>
                      <a:pPr algn="ctr" fontAlgn="ctr"/>
                      <a:r>
                        <a:rPr lang="en-US" altLang="zh-CN" sz="1400">
                          <a:latin typeface="微软雅黑" charset="0"/>
                          <a:ea typeface="微软雅黑" charset="0"/>
                          <a:cs typeface="微软雅黑" charset="0"/>
                        </a:rPr>
                        <a:t>3.2±3.7</a:t>
                      </a:r>
                      <a:endParaRPr lang="en-US" altLang="zh-CN" sz="1400">
                        <a:latin typeface="微软雅黑" charset="0"/>
                        <a:ea typeface="微软雅黑" charset="0"/>
                        <a:cs typeface="微软雅黑" charset="0"/>
                      </a:endParaRPr>
                    </a:p>
                  </a:txBody>
                  <a:tcPr marL="13017" marR="13017" marT="13017" marB="0" anchor="ctr"/>
                </a:tc>
              </a:tr>
              <a:tr h="286807">
                <a:tc vMerge="1">
                  <a:tcPr marL="13017" marR="13017" marT="13017" marB="0" anchor="ctr"/>
                </a:tc>
                <a:tc>
                  <a:txBody>
                    <a:bodyPr/>
                    <a:lstStyle/>
                    <a:p>
                      <a:pPr algn="ctr" fontAlgn="ctr"/>
                      <a:r>
                        <a:rPr lang="zh-CN" altLang="en-US" sz="1400">
                          <a:latin typeface="微软雅黑" charset="0"/>
                          <a:ea typeface="微软雅黑" charset="0"/>
                        </a:rPr>
                        <a:t>眼压</a:t>
                      </a:r>
                      <a:endParaRPr lang="zh-CN" altLang="en-US" sz="1400">
                        <a:latin typeface="微软雅黑" charset="0"/>
                        <a:ea typeface="微软雅黑" charset="0"/>
                      </a:endParaRPr>
                    </a:p>
                  </a:txBody>
                  <a:tcPr marL="13017" marR="13017" marT="13017" marB="0" anchor="ctr"/>
                </a:tc>
                <a:tc>
                  <a:txBody>
                    <a:bodyPr/>
                    <a:lstStyle/>
                    <a:p>
                      <a:pPr algn="ctr" fontAlgn="ctr"/>
                      <a:r>
                        <a:rPr lang="en-US" altLang="zh-CN" sz="1400">
                          <a:latin typeface="微软雅黑" charset="0"/>
                          <a:ea typeface="微软雅黑" charset="0"/>
                          <a:cs typeface="微软雅黑" charset="0"/>
                        </a:rPr>
                        <a:t>15.7±2.5mmHg</a:t>
                      </a:r>
                      <a:endParaRPr lang="en-US" altLang="zh-CN" sz="1400">
                        <a:latin typeface="微软雅黑" charset="0"/>
                        <a:ea typeface="微软雅黑" charset="0"/>
                        <a:cs typeface="微软雅黑" charset="0"/>
                      </a:endParaRPr>
                    </a:p>
                  </a:txBody>
                  <a:tcPr marL="13017" marR="13017" marT="13017" marB="0" anchor="ctr"/>
                </a:tc>
                <a:tc>
                  <a:txBody>
                    <a:bodyPr/>
                    <a:lstStyle/>
                    <a:p>
                      <a:pPr algn="ctr" fontAlgn="ctr"/>
                      <a:r>
                        <a:rPr lang="en-US" altLang="zh-CN" sz="1400" dirty="0">
                          <a:latin typeface="微软雅黑" charset="0"/>
                          <a:ea typeface="微软雅黑" charset="0"/>
                          <a:cs typeface="微软雅黑" charset="0"/>
                        </a:rPr>
                        <a:t>15.6±2.2mmHg</a:t>
                      </a:r>
                      <a:endParaRPr lang="en-US" altLang="zh-CN" sz="1400" dirty="0">
                        <a:latin typeface="微软雅黑" charset="0"/>
                        <a:ea typeface="微软雅黑" charset="0"/>
                        <a:cs typeface="微软雅黑" charset="0"/>
                      </a:endParaRPr>
                    </a:p>
                  </a:txBody>
                  <a:tcPr marL="13017" marR="13017" marT="13017" marB="0" anchor="ctr"/>
                </a:tc>
              </a:tr>
            </a:tbl>
          </a:graphicData>
        </a:graphic>
      </p:graphicFrame>
      <p:sp>
        <p:nvSpPr>
          <p:cNvPr id="30" name="文本框 29"/>
          <p:cNvSpPr txBox="1"/>
          <p:nvPr/>
        </p:nvSpPr>
        <p:spPr>
          <a:xfrm>
            <a:off x="6246413" y="2114044"/>
            <a:ext cx="5263944" cy="1429174"/>
          </a:xfrm>
          <a:prstGeom prst="rect">
            <a:avLst/>
          </a:prstGeom>
          <a:noFill/>
        </p:spPr>
        <p:txBody>
          <a:bodyPr wrap="square" rtlCol="0">
            <a:spAutoFit/>
          </a:bodyPr>
          <a:lstStyle/>
          <a:p>
            <a:pPr marL="285750" indent="-285750" algn="just" fontAlgn="auto">
              <a:lnSpc>
                <a:spcPct val="140000"/>
              </a:lnSpc>
              <a:buFont typeface="Arial" panose="020B0604020202090204" pitchFamily="34" charset="0"/>
              <a:buChar char="•"/>
            </a:pPr>
            <a:r>
              <a:rPr lang="zh-CN" altLang="en-US" sz="1500" dirty="0">
                <a:latin typeface="微软雅黑" charset="0"/>
                <a:ea typeface="微软雅黑" charset="0"/>
                <a:cs typeface="微软雅黑" charset="0"/>
                <a:sym typeface="+mn-ea"/>
              </a:rPr>
              <a:t>白内障超声乳化术后联合使用糖皮质激素（典必殊滴眼液）和非甾体类抗炎药，比单独使用糖皮质激素的</a:t>
            </a:r>
            <a:r>
              <a:rPr lang="zh-CN" altLang="en-US" sz="1600" b="1" dirty="0">
                <a:solidFill>
                  <a:schemeClr val="accent1">
                    <a:lumMod val="75000"/>
                  </a:schemeClr>
                </a:solidFill>
                <a:latin typeface="微软雅黑" charset="0"/>
                <a:ea typeface="微软雅黑" charset="0"/>
                <a:cs typeface="微软雅黑" charset="0"/>
                <a:sym typeface="+mn-ea"/>
              </a:rPr>
              <a:t>房水闪辉值更低</a:t>
            </a:r>
            <a:r>
              <a:rPr lang="zh-CN" altLang="en-US" sz="1400" dirty="0">
                <a:latin typeface="微软雅黑" charset="0"/>
                <a:ea typeface="微软雅黑" charset="0"/>
                <a:cs typeface="微软雅黑" charset="0"/>
                <a:sym typeface="+mn-ea"/>
              </a:rPr>
              <a:t>；</a:t>
            </a:r>
            <a:endParaRPr lang="zh-CN" altLang="en-US" sz="1400" dirty="0">
              <a:latin typeface="微软雅黑" charset="0"/>
              <a:ea typeface="微软雅黑" charset="0"/>
              <a:cs typeface="微软雅黑" charset="0"/>
              <a:sym typeface="+mn-ea"/>
            </a:endParaRPr>
          </a:p>
          <a:p>
            <a:pPr marL="285750" indent="-285750" algn="just" fontAlgn="auto">
              <a:lnSpc>
                <a:spcPct val="140000"/>
              </a:lnSpc>
              <a:buFont typeface="Arial" panose="020B0604020202090204" pitchFamily="34" charset="0"/>
              <a:buChar char="•"/>
            </a:pPr>
            <a:r>
              <a:rPr lang="zh-CN" altLang="en-US" sz="1500" dirty="0">
                <a:latin typeface="微软雅黑" charset="0"/>
                <a:ea typeface="微软雅黑" charset="0"/>
                <a:cs typeface="微软雅黑" charset="0"/>
                <a:sym typeface="+mn-ea"/>
              </a:rPr>
              <a:t>在术后</a:t>
            </a:r>
            <a:r>
              <a:rPr lang="en-US" altLang="zh-CN" sz="1500" dirty="0">
                <a:latin typeface="微软雅黑" charset="0"/>
                <a:ea typeface="微软雅黑" charset="0"/>
                <a:cs typeface="微软雅黑" charset="0"/>
                <a:sym typeface="+mn-ea"/>
              </a:rPr>
              <a:t>2</a:t>
            </a:r>
            <a:r>
              <a:rPr lang="zh-CN" altLang="en-US" sz="1500" dirty="0">
                <a:latin typeface="微软雅黑" charset="0"/>
                <a:ea typeface="微软雅黑" charset="0"/>
                <a:cs typeface="微软雅黑" charset="0"/>
                <a:sym typeface="+mn-ea"/>
              </a:rPr>
              <a:t>周和</a:t>
            </a:r>
            <a:r>
              <a:rPr lang="en-US" altLang="zh-CN" sz="1500" dirty="0">
                <a:latin typeface="微软雅黑" charset="0"/>
                <a:ea typeface="微软雅黑" charset="0"/>
                <a:cs typeface="微软雅黑" charset="0"/>
                <a:sym typeface="+mn-ea"/>
              </a:rPr>
              <a:t>1</a:t>
            </a:r>
            <a:r>
              <a:rPr lang="zh-CN" altLang="en-US" sz="1500" dirty="0">
                <a:latin typeface="微软雅黑" charset="0"/>
                <a:ea typeface="微软雅黑" charset="0"/>
                <a:cs typeface="微软雅黑" charset="0"/>
                <a:sym typeface="+mn-ea"/>
              </a:rPr>
              <a:t>个月时，</a:t>
            </a:r>
            <a:r>
              <a:rPr lang="zh-CN" altLang="en-US" sz="1600" b="1" dirty="0">
                <a:solidFill>
                  <a:schemeClr val="accent1">
                    <a:lumMod val="75000"/>
                  </a:schemeClr>
                </a:solidFill>
                <a:latin typeface="微软雅黑" charset="0"/>
                <a:ea typeface="微软雅黑" charset="0"/>
                <a:cs typeface="微软雅黑" charset="0"/>
                <a:sym typeface="+mn-ea"/>
              </a:rPr>
              <a:t>单用糖皮质激素组的眼压更高</a:t>
            </a:r>
            <a:r>
              <a:rPr lang="zh-CN" altLang="en-US" sz="1400" dirty="0">
                <a:latin typeface="微软雅黑" charset="0"/>
                <a:ea typeface="微软雅黑" charset="0"/>
                <a:cs typeface="微软雅黑" charset="0"/>
                <a:sym typeface="+mn-ea"/>
              </a:rPr>
              <a:t>。</a:t>
            </a:r>
            <a:endParaRPr lang="zh-CN" altLang="en-US" sz="1400" dirty="0"/>
          </a:p>
        </p:txBody>
      </p:sp>
      <p:sp>
        <p:nvSpPr>
          <p:cNvPr id="31" name="文本框 30"/>
          <p:cNvSpPr txBox="1"/>
          <p:nvPr/>
        </p:nvSpPr>
        <p:spPr>
          <a:xfrm>
            <a:off x="724286" y="6517213"/>
            <a:ext cx="10500076" cy="171955"/>
          </a:xfrm>
          <a:prstGeom prst="rect">
            <a:avLst/>
          </a:prstGeom>
        </p:spPr>
        <p:txBody>
          <a:bodyPr>
            <a:noAutofit/>
          </a:bodyPr>
          <a:lstStyle/>
          <a:p>
            <a:r>
              <a:rPr lang="en-US" altLang="pt-BR" sz="800" i="1" dirty="0">
                <a:solidFill>
                  <a:sysClr val="windowText" lastClr="000000">
                    <a:lumMod val="50000"/>
                    <a:lumOff val="50000"/>
                  </a:sysClr>
                </a:solidFill>
                <a:latin typeface="微软雅黑" charset="0"/>
                <a:ea typeface="微软雅黑" charset="0"/>
              </a:rPr>
              <a:t>J</a:t>
            </a:r>
            <a:r>
              <a:rPr lang="pt-BR" altLang="zh-CN" sz="800" i="1" dirty="0">
                <a:solidFill>
                  <a:sysClr val="windowText" lastClr="000000">
                    <a:lumMod val="50000"/>
                    <a:lumOff val="50000"/>
                  </a:sysClr>
                </a:solidFill>
                <a:latin typeface="微软雅黑" charset="0"/>
                <a:ea typeface="微软雅黑" charset="0"/>
              </a:rPr>
              <a:t>ournal of Clinical and Diagnostic Research. 2012 November, Vol-6(9): 1499-1503</a:t>
            </a:r>
            <a:endParaRPr lang="pt-BR" altLang="zh-CN" sz="800" i="1" dirty="0">
              <a:solidFill>
                <a:sysClr val="windowText" lastClr="000000">
                  <a:lumMod val="50000"/>
                  <a:lumOff val="50000"/>
                </a:sysClr>
              </a:solidFill>
              <a:latin typeface="微软雅黑" charset="0"/>
              <a:ea typeface="微软雅黑" charset="0"/>
            </a:endParaRPr>
          </a:p>
          <a:p>
            <a:r>
              <a:rPr lang="zh-CN" altLang="en-US" sz="800" i="1" dirty="0">
                <a:solidFill>
                  <a:sysClr val="windowText" lastClr="000000">
                    <a:lumMod val="50000"/>
                    <a:lumOff val="50000"/>
                  </a:sysClr>
                </a:solidFill>
                <a:latin typeface="微软雅黑" charset="0"/>
                <a:ea typeface="微软雅黑" charset="0"/>
              </a:rPr>
              <a:t>何夏怡等</a:t>
            </a:r>
            <a:r>
              <a:rPr lang="en-US" altLang="zh-CN" sz="800" i="1" dirty="0">
                <a:solidFill>
                  <a:sysClr val="windowText" lastClr="000000">
                    <a:lumMod val="50000"/>
                    <a:lumOff val="50000"/>
                  </a:sysClr>
                </a:solidFill>
                <a:latin typeface="微软雅黑" charset="0"/>
                <a:ea typeface="微软雅黑" charset="0"/>
              </a:rPr>
              <a:t>.</a:t>
            </a:r>
            <a:r>
              <a:rPr lang="zh-CN" altLang="en-US" sz="800" i="1" dirty="0">
                <a:solidFill>
                  <a:sysClr val="windowText" lastClr="000000">
                    <a:lumMod val="50000"/>
                    <a:lumOff val="50000"/>
                  </a:sysClr>
                </a:solidFill>
                <a:latin typeface="微软雅黑" charset="0"/>
                <a:ea typeface="微软雅黑" charset="0"/>
              </a:rPr>
              <a:t>白内障超声乳化术后联合应用糖皮质激素和非甾体类抗炎药的临床研究</a:t>
            </a:r>
            <a:r>
              <a:rPr lang="en-US" altLang="zh-CN" sz="800" i="1" dirty="0">
                <a:solidFill>
                  <a:sysClr val="windowText" lastClr="000000">
                    <a:lumMod val="50000"/>
                    <a:lumOff val="50000"/>
                  </a:sysClr>
                </a:solidFill>
                <a:latin typeface="微软雅黑" charset="0"/>
                <a:ea typeface="微软雅黑" charset="0"/>
              </a:rPr>
              <a:t>[J].</a:t>
            </a:r>
            <a:r>
              <a:rPr lang="zh-CN" altLang="en-US" sz="800" i="1" dirty="0">
                <a:solidFill>
                  <a:sysClr val="windowText" lastClr="000000">
                    <a:lumMod val="50000"/>
                    <a:lumOff val="50000"/>
                  </a:sysClr>
                </a:solidFill>
                <a:latin typeface="微软雅黑" charset="0"/>
                <a:ea typeface="微软雅黑" charset="0"/>
              </a:rPr>
              <a:t>中国医师杂志</a:t>
            </a:r>
            <a:r>
              <a:rPr lang="en-US" altLang="zh-CN" sz="800" i="1" dirty="0">
                <a:solidFill>
                  <a:sysClr val="windowText" lastClr="000000">
                    <a:lumMod val="50000"/>
                    <a:lumOff val="50000"/>
                  </a:sysClr>
                </a:solidFill>
                <a:latin typeface="微软雅黑" charset="0"/>
                <a:ea typeface="微软雅黑" charset="0"/>
              </a:rPr>
              <a:t>, 2006, 8(007):954-955.</a:t>
            </a:r>
            <a:endParaRPr lang="en-US" altLang="zh-CN" sz="800" i="1" dirty="0">
              <a:solidFill>
                <a:sysClr val="windowText" lastClr="000000">
                  <a:lumMod val="50000"/>
                  <a:lumOff val="50000"/>
                </a:sysClr>
              </a:solidFill>
              <a:latin typeface="微软雅黑" charset="0"/>
              <a:ea typeface="微软雅黑" charset="0"/>
            </a:endParaRPr>
          </a:p>
          <a:p>
            <a:endParaRPr lang="pt-BR" altLang="zh-CN" sz="800" i="1" dirty="0">
              <a:solidFill>
                <a:sysClr val="windowText" lastClr="000000">
                  <a:lumMod val="50000"/>
                  <a:lumOff val="50000"/>
                </a:sysClr>
              </a:solidFill>
              <a:latin typeface="微软雅黑" charset="0"/>
              <a:ea typeface="微软雅黑"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p:txBody>
          <a:bodyPr vert="horz"/>
          <a:lstStyle/>
          <a:p>
            <a:r>
              <a:rPr lang="zh-CN" altLang="en-US" sz="2400" b="1" dirty="0">
                <a:latin typeface="微软雅黑" charset="0"/>
                <a:ea typeface="微软雅黑" charset="0"/>
                <a:cs typeface="微软雅黑" charset="0"/>
              </a:rPr>
              <a:t>氟比洛芬钠滴眼液作为全新</a:t>
            </a:r>
            <a:r>
              <a:rPr lang="en-US" altLang="zh-CN" sz="2400" b="1" dirty="0">
                <a:latin typeface="微软雅黑" charset="0"/>
                <a:ea typeface="微软雅黑" charset="0"/>
                <a:cs typeface="微软雅黑" charset="0"/>
              </a:rPr>
              <a:t>NSAIDs</a:t>
            </a:r>
            <a:r>
              <a:rPr lang="zh-CN" altLang="en-US" sz="2400" b="1" dirty="0">
                <a:latin typeface="微软雅黑" charset="0"/>
                <a:ea typeface="微软雅黑" charset="0"/>
                <a:cs typeface="微软雅黑" charset="0"/>
              </a:rPr>
              <a:t>眼科用药，多项临床证据均证明其可</a:t>
            </a:r>
            <a:r>
              <a:rPr lang="zh-CN" altLang="en-US" sz="2400" dirty="0">
                <a:solidFill>
                  <a:srgbClr val="C00000"/>
                </a:solidFill>
                <a:latin typeface="微软雅黑" charset="0"/>
                <a:ea typeface="微软雅黑" charset="0"/>
                <a:cs typeface="微软雅黑" charset="0"/>
              </a:rPr>
              <a:t>显著抑制内眼手术中的瞳孔缩小</a:t>
            </a:r>
            <a:endParaRPr lang="zh-CN" altLang="en-US" sz="2400" dirty="0">
              <a:solidFill>
                <a:srgbClr val="C00000"/>
              </a:solidFill>
              <a:latin typeface="微软雅黑" charset="0"/>
              <a:ea typeface="微软雅黑" charset="0"/>
              <a:cs typeface="微软雅黑" charset="0"/>
            </a:endParaRPr>
          </a:p>
        </p:txBody>
      </p:sp>
      <p:sp>
        <p:nvSpPr>
          <p:cNvPr id="13" name="Rectangle: Top Corners Rounded 12"/>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基本信息</a:t>
            </a:r>
            <a:endParaRPr lang="zh-CN" altLang="en-US" sz="1400" b="1" err="1">
              <a:latin typeface="微软雅黑" charset="0"/>
              <a:ea typeface="微软雅黑" charset="0"/>
            </a:endParaRPr>
          </a:p>
        </p:txBody>
      </p:sp>
      <p:sp>
        <p:nvSpPr>
          <p:cNvPr id="17" name="Rectangle: Top Corners Rounded 16"/>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创新性</a:t>
            </a:r>
            <a:endParaRPr lang="zh-CN" altLang="en-US" sz="1400" b="1" err="1">
              <a:latin typeface="微软雅黑" charset="0"/>
              <a:ea typeface="微软雅黑" charset="0"/>
            </a:endParaRPr>
          </a:p>
        </p:txBody>
      </p:sp>
      <p:sp>
        <p:nvSpPr>
          <p:cNvPr id="18" name="Rectangle: Top Corners Rounded 17"/>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公平性</a:t>
            </a:r>
            <a:endParaRPr lang="zh-CN" altLang="en-US" sz="1400" b="1" err="1">
              <a:latin typeface="微软雅黑" charset="0"/>
              <a:ea typeface="微软雅黑" charset="0"/>
            </a:endParaRPr>
          </a:p>
        </p:txBody>
      </p:sp>
      <p:sp>
        <p:nvSpPr>
          <p:cNvPr id="4" name="Rectangle: Rounded Corners 3"/>
          <p:cNvSpPr/>
          <p:nvPr/>
        </p:nvSpPr>
        <p:spPr>
          <a:xfrm>
            <a:off x="648224" y="1276687"/>
            <a:ext cx="11075029" cy="5063153"/>
          </a:xfrm>
          <a:prstGeom prst="roundRect">
            <a:avLst>
              <a:gd name="adj" fmla="val 5164"/>
            </a:avLst>
          </a:pr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0" rtlCol="0" anchor="t"/>
          <a:lstStyle/>
          <a:p>
            <a:endParaRPr lang="en-US" sz="1600">
              <a:solidFill>
                <a:srgbClr val="169AB4"/>
              </a:solidFill>
              <a:latin typeface="微软雅黑" charset="0"/>
              <a:ea typeface="微软雅黑" charset="0"/>
            </a:endParaRPr>
          </a:p>
        </p:txBody>
      </p:sp>
      <p:sp>
        <p:nvSpPr>
          <p:cNvPr id="5" name="Rectangle: Top Corners Rounded 4"/>
          <p:cNvSpPr/>
          <p:nvPr/>
        </p:nvSpPr>
        <p:spPr>
          <a:xfrm>
            <a:off x="648225" y="1203541"/>
            <a:ext cx="11075028" cy="444865"/>
          </a:xfrm>
          <a:prstGeom prst="round2SameRect">
            <a:avLst>
              <a:gd name="adj1" fmla="val 42442"/>
              <a:gd name="adj2" fmla="val 0"/>
            </a:avLst>
          </a:prstGeom>
          <a:solidFill>
            <a:schemeClr val="accent1"/>
          </a:solidFill>
          <a:ln w="28575">
            <a:solidFill>
              <a:schemeClr val="accent1"/>
            </a:solid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noAutofit/>
          </a:bodyPr>
          <a:lstStyle/>
          <a:p>
            <a:pPr algn="ctr">
              <a:spcAft>
                <a:spcPts val="300"/>
              </a:spcAft>
              <a:tabLst>
                <a:tab pos="690245" algn="l"/>
              </a:tabLst>
            </a:pPr>
            <a:r>
              <a:rPr lang="zh-CN" altLang="en-US" sz="1600" b="1" dirty="0">
                <a:solidFill>
                  <a:schemeClr val="bg1"/>
                </a:solidFill>
                <a:latin typeface="微软雅黑" charset="0"/>
                <a:ea typeface="微软雅黑" charset="0"/>
                <a:cs typeface="Noto Sans" panose="020B0502040504020204" pitchFamily="34"/>
              </a:rPr>
              <a:t>显著抑制内眼手术中的瞳孔缩小</a:t>
            </a:r>
            <a:endParaRPr lang="zh-CN" altLang="en-US" sz="1600" b="1" dirty="0">
              <a:solidFill>
                <a:schemeClr val="bg1"/>
              </a:solidFill>
              <a:latin typeface="微软雅黑" charset="0"/>
              <a:ea typeface="微软雅黑" charset="0"/>
              <a:cs typeface="Noto Sans" panose="020B0502040504020204" pitchFamily="34"/>
            </a:endParaRPr>
          </a:p>
        </p:txBody>
      </p:sp>
      <p:grpSp>
        <p:nvGrpSpPr>
          <p:cNvPr id="22" name="Group 21"/>
          <p:cNvGrpSpPr/>
          <p:nvPr/>
        </p:nvGrpSpPr>
        <p:grpSpPr>
          <a:xfrm>
            <a:off x="802108" y="1745285"/>
            <a:ext cx="5293892" cy="430724"/>
            <a:chOff x="803576" y="2047875"/>
            <a:chExt cx="5202452" cy="430724"/>
          </a:xfrm>
        </p:grpSpPr>
        <p:sp>
          <p:nvSpPr>
            <p:cNvPr id="10" name="object 25"/>
            <p:cNvSpPr txBox="1"/>
            <p:nvPr/>
          </p:nvSpPr>
          <p:spPr>
            <a:xfrm>
              <a:off x="803576" y="2060017"/>
              <a:ext cx="5202452" cy="388076"/>
            </a:xfrm>
            <a:prstGeom prst="rect">
              <a:avLst/>
            </a:prstGeom>
            <a:solidFill>
              <a:schemeClr val="bg1">
                <a:lumMod val="95000"/>
              </a:schemeClr>
            </a:solidFill>
          </p:spPr>
          <p:txBody>
            <a:bodyPr vert="horz" wrap="square" lIns="182880" tIns="0" rIns="182880" bIns="0" rtlCol="0" anchor="ctr">
              <a:noAutofit/>
            </a:bodyPr>
            <a:lstStyle/>
            <a:p>
              <a:r>
                <a:rPr lang="zh-CN" altLang="en-US" sz="1600" b="1" dirty="0">
                  <a:solidFill>
                    <a:srgbClr val="302E5D"/>
                  </a:solidFill>
                  <a:latin typeface="微软雅黑" charset="0"/>
                  <a:ea typeface="微软雅黑" charset="0"/>
                  <a:cs typeface="微软雅黑"/>
                </a:rPr>
                <a:t>氟比洛芬钠</a:t>
              </a:r>
              <a:r>
                <a:rPr lang="en-US" altLang="zh-CN" sz="1600" b="1" dirty="0">
                  <a:solidFill>
                    <a:srgbClr val="302E5D"/>
                  </a:solidFill>
                  <a:latin typeface="微软雅黑" charset="0"/>
                  <a:ea typeface="微软雅黑" charset="0"/>
                  <a:cs typeface="微软雅黑"/>
                </a:rPr>
                <a:t>vs.</a:t>
              </a:r>
              <a:r>
                <a:rPr lang="zh-CN" altLang="en-US" sz="1600" b="1" dirty="0">
                  <a:solidFill>
                    <a:srgbClr val="302E5D"/>
                  </a:solidFill>
                  <a:latin typeface="微软雅黑" charset="0"/>
                  <a:ea typeface="微软雅黑" charset="0"/>
                  <a:cs typeface="微软雅黑"/>
                </a:rPr>
                <a:t>安慰剂</a:t>
              </a:r>
              <a:endParaRPr lang="en-US" altLang="zh-CN" sz="1600" b="1" dirty="0">
                <a:solidFill>
                  <a:srgbClr val="302E5D"/>
                </a:solidFill>
                <a:latin typeface="微软雅黑" charset="0"/>
                <a:ea typeface="微软雅黑" charset="0"/>
                <a:cs typeface="微软雅黑"/>
              </a:endParaRPr>
            </a:p>
          </p:txBody>
        </p:sp>
        <p:sp>
          <p:nvSpPr>
            <p:cNvPr id="20" name="Half Frame 19"/>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sp>
          <p:nvSpPr>
            <p:cNvPr id="21" name="Half Frame 20"/>
            <p:cNvSpPr/>
            <p:nvPr/>
          </p:nvSpPr>
          <p:spPr>
            <a:xfrm rot="10800000">
              <a:off x="5772555" y="2245126"/>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grpSp>
      <p:sp>
        <p:nvSpPr>
          <p:cNvPr id="8"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安全性</a:t>
            </a:r>
            <a:endParaRPr lang="zh-CN" altLang="en-US" sz="1400" b="1">
              <a:latin typeface="微软雅黑" charset="0"/>
              <a:ea typeface="微软雅黑" charset="0"/>
            </a:endParaRPr>
          </a:p>
        </p:txBody>
      </p:sp>
      <p:sp>
        <p:nvSpPr>
          <p:cNvPr id="9" name="Rectangle: Top Corners Rounded 40"/>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有效性</a:t>
            </a:r>
            <a:endParaRPr lang="zh-CN" altLang="en-US" sz="1400" b="1">
              <a:latin typeface="微软雅黑" charset="0"/>
              <a:ea typeface="微软雅黑" charset="0"/>
            </a:endParaRPr>
          </a:p>
        </p:txBody>
      </p:sp>
      <p:sp>
        <p:nvSpPr>
          <p:cNvPr id="6"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latin typeface="微软雅黑" charset="0"/>
                <a:ea typeface="微软雅黑" charset="0"/>
              </a:rPr>
              <a:t>6</a:t>
            </a:r>
            <a:endParaRPr lang="en-US" sz="1000" b="1">
              <a:solidFill>
                <a:schemeClr val="bg1"/>
              </a:solidFill>
              <a:latin typeface="微软雅黑" charset="0"/>
              <a:ea typeface="微软雅黑" charset="0"/>
            </a:endParaRPr>
          </a:p>
        </p:txBody>
      </p:sp>
      <p:sp>
        <p:nvSpPr>
          <p:cNvPr id="7" name="矩形 6"/>
          <p:cNvSpPr/>
          <p:nvPr/>
        </p:nvSpPr>
        <p:spPr>
          <a:xfrm>
            <a:off x="802108" y="2104560"/>
            <a:ext cx="5293892" cy="1574532"/>
          </a:xfrm>
          <a:prstGeom prst="rect">
            <a:avLst/>
          </a:prstGeom>
          <a:noFill/>
        </p:spPr>
        <p:txBody>
          <a:bodyPr wrap="square">
            <a:noAutofit/>
          </a:bodyPr>
          <a:lstStyle/>
          <a:p>
            <a:pPr marL="285750" indent="-285750" algn="just">
              <a:lnSpc>
                <a:spcPct val="120000"/>
              </a:lnSpc>
              <a:spcAft>
                <a:spcPts val="600"/>
              </a:spcAft>
              <a:buFont typeface="Arial" panose="020B0604020202090204" pitchFamily="34" charset="0"/>
              <a:buChar char="•"/>
            </a:pPr>
            <a:r>
              <a:rPr lang="zh-CN" altLang="en-US" sz="1600" b="1" dirty="0">
                <a:solidFill>
                  <a:prstClr val="black"/>
                </a:solidFill>
                <a:latin typeface="微软雅黑" panose="020B0503020204020204" pitchFamily="34" charset="-122"/>
                <a:ea typeface="微软雅黑" panose="020B0503020204020204" pitchFamily="34" charset="-122"/>
                <a:cs typeface="微软雅黑" charset="0"/>
              </a:rPr>
              <a:t>双盲研究，评价氟比洛芬钠在囊外晶状体摘除中维持术中瞳孔扩张作用</a:t>
            </a:r>
            <a:endParaRPr lang="zh-CN" altLang="en-US" sz="1600" b="1" dirty="0">
              <a:solidFill>
                <a:prstClr val="black"/>
              </a:solidFill>
              <a:latin typeface="微软雅黑" panose="020B0503020204020204" pitchFamily="34" charset="-122"/>
              <a:ea typeface="微软雅黑" panose="020B0503020204020204" pitchFamily="34" charset="-122"/>
              <a:cs typeface="微软雅黑" charset="0"/>
            </a:endParaRPr>
          </a:p>
          <a:p>
            <a:pPr marL="285750" indent="-285750" algn="just">
              <a:lnSpc>
                <a:spcPct val="120000"/>
              </a:lnSpc>
              <a:buFont typeface="Arial" panose="020B060402020209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sym typeface="DengXian" charset="0"/>
              </a:rPr>
              <a:t>安慰剂组可手术操作的瞳孔面积从I期56.18 mm</a:t>
            </a:r>
            <a:r>
              <a:rPr lang="zh-CN" altLang="en-US" sz="1600" baseline="30000" dirty="0">
                <a:solidFill>
                  <a:prstClr val="black"/>
                </a:solidFill>
                <a:latin typeface="微软雅黑" panose="020B0503020204020204" pitchFamily="34" charset="-122"/>
                <a:ea typeface="微软雅黑" panose="020B0503020204020204" pitchFamily="34" charset="-122"/>
                <a:sym typeface="DengXian" charset="0"/>
              </a:rPr>
              <a:t>2</a:t>
            </a:r>
            <a:r>
              <a:rPr lang="zh-CN" altLang="en-US" sz="1600" dirty="0">
                <a:solidFill>
                  <a:prstClr val="black"/>
                </a:solidFill>
                <a:latin typeface="微软雅黑" panose="020B0503020204020204" pitchFamily="34" charset="-122"/>
                <a:ea typeface="微软雅黑" panose="020B0503020204020204" pitchFamily="34" charset="-122"/>
                <a:sym typeface="DengXian" charset="0"/>
              </a:rPr>
              <a:t>显著减少到阶段III9.94 mm</a:t>
            </a:r>
            <a:r>
              <a:rPr lang="zh-CN" altLang="en-US" sz="1600" baseline="30000" dirty="0">
                <a:solidFill>
                  <a:prstClr val="black"/>
                </a:solidFill>
                <a:latin typeface="微软雅黑" panose="020B0503020204020204" pitchFamily="34" charset="-122"/>
                <a:ea typeface="微软雅黑" panose="020B0503020204020204" pitchFamily="34" charset="-122"/>
                <a:sym typeface="DengXian" charset="0"/>
              </a:rPr>
              <a:t>2</a:t>
            </a:r>
            <a:r>
              <a:rPr lang="zh-CN" altLang="en-US" sz="1600" dirty="0">
                <a:solidFill>
                  <a:prstClr val="black"/>
                </a:solidFill>
                <a:latin typeface="微软雅黑" panose="020B0503020204020204" pitchFamily="34" charset="-122"/>
                <a:ea typeface="微软雅黑" panose="020B0503020204020204" pitchFamily="34" charset="-122"/>
                <a:sym typeface="DengXian" charset="0"/>
              </a:rPr>
              <a:t>，而氟比洛芬组从阶段I58.05 mm</a:t>
            </a:r>
            <a:r>
              <a:rPr lang="zh-CN" altLang="en-US" sz="1600" baseline="30000" dirty="0">
                <a:solidFill>
                  <a:prstClr val="black"/>
                </a:solidFill>
                <a:latin typeface="微软雅黑" panose="020B0503020204020204" pitchFamily="34" charset="-122"/>
                <a:ea typeface="微软雅黑" panose="020B0503020204020204" pitchFamily="34" charset="-122"/>
                <a:sym typeface="DengXian" charset="0"/>
              </a:rPr>
              <a:t>2</a:t>
            </a:r>
            <a:r>
              <a:rPr lang="zh-CN" altLang="en-US" sz="1600" dirty="0">
                <a:solidFill>
                  <a:prstClr val="black"/>
                </a:solidFill>
                <a:latin typeface="微软雅黑" panose="020B0503020204020204" pitchFamily="34" charset="-122"/>
                <a:ea typeface="微软雅黑" panose="020B0503020204020204" pitchFamily="34" charset="-122"/>
                <a:sym typeface="DengXian" charset="0"/>
              </a:rPr>
              <a:t>到阶段III50.24 mm</a:t>
            </a:r>
            <a:r>
              <a:rPr lang="zh-CN" altLang="en-US" sz="1600" baseline="30000" dirty="0">
                <a:solidFill>
                  <a:prstClr val="black"/>
                </a:solidFill>
                <a:latin typeface="微软雅黑" panose="020B0503020204020204" pitchFamily="34" charset="-122"/>
                <a:ea typeface="微软雅黑" panose="020B0503020204020204" pitchFamily="34" charset="-122"/>
                <a:sym typeface="DengXian" charset="0"/>
              </a:rPr>
              <a:t>2</a:t>
            </a:r>
            <a:r>
              <a:rPr lang="zh-CN" altLang="en-US" sz="1600" dirty="0">
                <a:solidFill>
                  <a:prstClr val="black"/>
                </a:solidFill>
                <a:latin typeface="微软雅黑" panose="020B0503020204020204" pitchFamily="34" charset="-122"/>
                <a:ea typeface="微软雅黑" panose="020B0503020204020204" pitchFamily="34" charset="-122"/>
                <a:sym typeface="DengXian" charset="0"/>
              </a:rPr>
              <a:t>变化不大。</a:t>
            </a:r>
            <a:endParaRPr lang="en-US" altLang="zh-CN" sz="1600" dirty="0">
              <a:solidFill>
                <a:prstClr val="black"/>
              </a:solidFill>
              <a:latin typeface="微软雅黑" panose="020B0503020204020204" pitchFamily="34" charset="-122"/>
              <a:ea typeface="微软雅黑" panose="020B0503020204020204" pitchFamily="34" charset="-122"/>
              <a:sym typeface="DengXian" charset="0"/>
            </a:endParaRPr>
          </a:p>
          <a:p>
            <a:pPr marL="285750" indent="-285750" algn="just">
              <a:lnSpc>
                <a:spcPct val="120000"/>
              </a:lnSpc>
              <a:buFont typeface="Arial" panose="020B060402020209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cs typeface="微软雅黑" charset="0"/>
              </a:rPr>
              <a:t>氟比洛芬术中持续散瞳效果显著，在维持术中散瞳可更好地冲洗晶状体物质，从而能更好地进行</a:t>
            </a:r>
            <a:r>
              <a:rPr lang="en-US" altLang="zh-CN" sz="1600" dirty="0">
                <a:solidFill>
                  <a:prstClr val="black"/>
                </a:solidFill>
                <a:latin typeface="微软雅黑" panose="020B0503020204020204" pitchFamily="34" charset="-122"/>
                <a:ea typeface="微软雅黑" panose="020B0503020204020204" pitchFamily="34" charset="-122"/>
                <a:cs typeface="微软雅黑" charset="0"/>
              </a:rPr>
              <a:t>ECLE</a:t>
            </a:r>
            <a:r>
              <a:rPr lang="zh-CN" altLang="en-US" sz="1600" dirty="0">
                <a:solidFill>
                  <a:prstClr val="black"/>
                </a:solidFill>
                <a:latin typeface="微软雅黑" panose="020B0503020204020204" pitchFamily="34" charset="-122"/>
                <a:ea typeface="微软雅黑" panose="020B0503020204020204" pitchFamily="34" charset="-122"/>
                <a:cs typeface="微软雅黑" charset="0"/>
              </a:rPr>
              <a:t>术，且显著减少后发性白内障。在维持术中散瞳方面具有显著的优势。</a:t>
            </a:r>
            <a:endParaRPr lang="zh-CN" altLang="en-US" sz="1600" dirty="0">
              <a:solidFill>
                <a:prstClr val="black"/>
              </a:solidFill>
              <a:latin typeface="微软雅黑" panose="020B0503020204020204" pitchFamily="34" charset="-122"/>
              <a:ea typeface="微软雅黑" panose="020B0503020204020204" pitchFamily="34" charset="-122"/>
              <a:cs typeface="微软雅黑" charset="0"/>
            </a:endParaRPr>
          </a:p>
          <a:p>
            <a:pPr marL="285750" indent="-285750" algn="just">
              <a:lnSpc>
                <a:spcPct val="120000"/>
              </a:lnSpc>
              <a:buFont typeface="Arial" panose="020B0604020202090204" pitchFamily="34" charset="0"/>
              <a:buChar char="•"/>
            </a:pPr>
            <a:endParaRPr lang="zh-CN" altLang="en-US" sz="1600" dirty="0">
              <a:solidFill>
                <a:prstClr val="black"/>
              </a:solidFill>
              <a:latin typeface="微软雅黑" panose="020B0503020204020204" pitchFamily="34" charset="-122"/>
              <a:ea typeface="微软雅黑" panose="020B0503020204020204" pitchFamily="34" charset="-122"/>
              <a:cs typeface="微软雅黑" charset="0"/>
            </a:endParaRPr>
          </a:p>
          <a:p>
            <a:pPr marL="285750" indent="-285750" algn="just">
              <a:lnSpc>
                <a:spcPct val="120000"/>
              </a:lnSpc>
              <a:buFont typeface="Arial" panose="020B0604020202090204" pitchFamily="34" charset="0"/>
              <a:buChar char="•"/>
            </a:pPr>
            <a:endParaRPr lang="zh-CN" altLang="en-US" sz="1600" dirty="0">
              <a:solidFill>
                <a:prstClr val="black"/>
              </a:solidFill>
              <a:latin typeface="微软雅黑" panose="020B0503020204020204" pitchFamily="34" charset="-122"/>
              <a:ea typeface="微软雅黑" panose="020B0503020204020204" pitchFamily="34" charset="-122"/>
              <a:cs typeface="微软雅黑" charset="0"/>
            </a:endParaRPr>
          </a:p>
        </p:txBody>
      </p:sp>
      <p:graphicFrame>
        <p:nvGraphicFramePr>
          <p:cNvPr id="15" name="表格 14"/>
          <p:cNvGraphicFramePr/>
          <p:nvPr>
            <p:custDataLst>
              <p:tags r:id="rId5"/>
            </p:custDataLst>
          </p:nvPr>
        </p:nvGraphicFramePr>
        <p:xfrm>
          <a:off x="957991" y="4894105"/>
          <a:ext cx="5227747" cy="1374416"/>
        </p:xfrm>
        <a:graphic>
          <a:graphicData uri="http://schemas.openxmlformats.org/drawingml/2006/table">
            <a:tbl>
              <a:tblPr firstRow="1" bandRow="1">
                <a:tableStyleId>{5C22544A-7EE6-4342-B048-85BDC9FD1C3A}</a:tableStyleId>
              </a:tblPr>
              <a:tblGrid>
                <a:gridCol w="585673"/>
                <a:gridCol w="449016"/>
                <a:gridCol w="449016"/>
                <a:gridCol w="722331"/>
                <a:gridCol w="497822"/>
                <a:gridCol w="634480"/>
                <a:gridCol w="985884"/>
                <a:gridCol w="903525"/>
              </a:tblGrid>
              <a:tr h="315840">
                <a:tc>
                  <a:txBody>
                    <a:bodyPr/>
                    <a:lstStyle/>
                    <a:p>
                      <a:pPr algn="ctr">
                        <a:lnSpc>
                          <a:spcPct val="120000"/>
                        </a:lnSpc>
                        <a:spcBef>
                          <a:spcPts val="0"/>
                        </a:spcBef>
                        <a:spcAft>
                          <a:spcPts val="0"/>
                        </a:spcAft>
                        <a:buNone/>
                      </a:pPr>
                      <a:endParaRPr lang="zh-CN" altLang="en-US" sz="1000" spc="120">
                        <a:latin typeface="微软雅黑" charset="0"/>
                        <a:ea typeface="微软雅黑" charset="0"/>
                      </a:endParaRPr>
                    </a:p>
                  </a:txBody>
                  <a:tcPr marL="25400" marR="25400" marT="6350" marB="6350" anchor="ctr"/>
                </a:tc>
                <a:tc gridSpan="3">
                  <a:txBody>
                    <a:bodyPr/>
                    <a:lstStyle/>
                    <a:p>
                      <a:pPr algn="ctr">
                        <a:lnSpc>
                          <a:spcPct val="120000"/>
                        </a:lnSpc>
                        <a:spcBef>
                          <a:spcPts val="0"/>
                        </a:spcBef>
                        <a:spcAft>
                          <a:spcPts val="0"/>
                        </a:spcAft>
                        <a:buNone/>
                      </a:pPr>
                      <a:r>
                        <a:rPr lang="zh-CN" altLang="en-US" sz="1000" spc="120">
                          <a:latin typeface="微软雅黑" charset="0"/>
                          <a:ea typeface="微软雅黑" charset="0"/>
                          <a:cs typeface="微软雅黑" charset="0"/>
                        </a:rPr>
                        <a:t>瞳孔直径</a:t>
                      </a:r>
                      <a:r>
                        <a:rPr lang="en-US" altLang="zh-CN" sz="1000" spc="120">
                          <a:latin typeface="微软雅黑" charset="0"/>
                          <a:ea typeface="微软雅黑" charset="0"/>
                          <a:cs typeface="微软雅黑" charset="0"/>
                        </a:rPr>
                        <a:t>(mm)</a:t>
                      </a:r>
                      <a:endParaRPr lang="en-US" altLang="zh-CN" sz="1000" spc="120">
                        <a:latin typeface="微软雅黑" charset="0"/>
                        <a:ea typeface="微软雅黑" charset="0"/>
                        <a:cs typeface="微软雅黑" charset="0"/>
                      </a:endParaRPr>
                    </a:p>
                  </a:txBody>
                  <a:tcPr marL="25400" marR="25400" marT="6350" marB="6350" anchor="ctr"/>
                </a:tc>
                <a:tc hMerge="1">
                  <a:tcPr marL="25400" marR="25400" marT="6350" marB="6350" anchor="ctr"/>
                </a:tc>
                <a:tc hMerge="1">
                  <a:tcPr marL="25400" marR="25400" marT="6350" marB="6350" anchor="ctr"/>
                </a:tc>
                <a:tc gridSpan="3">
                  <a:txBody>
                    <a:bodyPr/>
                    <a:lstStyle/>
                    <a:p>
                      <a:pPr algn="ctr">
                        <a:lnSpc>
                          <a:spcPct val="120000"/>
                        </a:lnSpc>
                        <a:spcBef>
                          <a:spcPts val="0"/>
                        </a:spcBef>
                        <a:spcAft>
                          <a:spcPts val="0"/>
                        </a:spcAft>
                        <a:buNone/>
                      </a:pPr>
                      <a:r>
                        <a:rPr lang="zh-CN" altLang="en-US" sz="1000" spc="120" dirty="0">
                          <a:latin typeface="微软雅黑" charset="0"/>
                          <a:ea typeface="微软雅黑" charset="0"/>
                          <a:cs typeface="微软雅黑" charset="0"/>
                        </a:rPr>
                        <a:t>瞳孔面积</a:t>
                      </a:r>
                      <a:r>
                        <a:rPr lang="en-US" altLang="zh-CN" sz="1000" spc="120" dirty="0">
                          <a:latin typeface="微软雅黑" charset="0"/>
                          <a:ea typeface="微软雅黑" charset="0"/>
                          <a:cs typeface="微软雅黑" charset="0"/>
                        </a:rPr>
                        <a:t>(mm</a:t>
                      </a:r>
                      <a:r>
                        <a:rPr lang="en-US" altLang="en-US" sz="1000" spc="120" dirty="0">
                          <a:latin typeface="微软雅黑" charset="0"/>
                          <a:ea typeface="微软雅黑" charset="0"/>
                          <a:cs typeface="微软雅黑" charset="0"/>
                        </a:rPr>
                        <a:t>²</a:t>
                      </a:r>
                      <a:r>
                        <a:rPr lang="zh-CN" altLang="en-US" sz="1000" spc="120" dirty="0">
                          <a:latin typeface="微软雅黑" charset="0"/>
                          <a:ea typeface="微软雅黑" charset="0"/>
                          <a:cs typeface="微软雅黑" charset="0"/>
                        </a:rPr>
                        <a:t>）</a:t>
                      </a:r>
                      <a:endParaRPr lang="zh-CN" altLang="en-US" sz="1000" spc="120" dirty="0">
                        <a:latin typeface="微软雅黑" charset="0"/>
                        <a:ea typeface="微软雅黑" charset="0"/>
                        <a:cs typeface="微软雅黑" charset="0"/>
                      </a:endParaRPr>
                    </a:p>
                  </a:txBody>
                  <a:tcPr marL="25400" marR="25400" marT="6350" marB="6350" anchor="ctr"/>
                </a:tc>
                <a:tc hMerge="1">
                  <a:tcPr marL="25400" marR="25400" marT="6350" marB="6350" anchor="ctr"/>
                </a:tc>
                <a:tc hMerge="1">
                  <a:tcPr marL="25400" marR="25400" marT="6350" marB="6350" anchor="ctr"/>
                </a:tc>
                <a:tc>
                  <a:txBody>
                    <a:bodyPr/>
                    <a:lstStyle/>
                    <a:p>
                      <a:pPr algn="ctr">
                        <a:lnSpc>
                          <a:spcPct val="120000"/>
                        </a:lnSpc>
                        <a:spcBef>
                          <a:spcPts val="0"/>
                        </a:spcBef>
                        <a:spcAft>
                          <a:spcPts val="0"/>
                        </a:spcAft>
                        <a:buNone/>
                      </a:pPr>
                      <a:r>
                        <a:rPr lang="zh-CN" altLang="en-US" sz="1000" spc="120" dirty="0">
                          <a:latin typeface="微软雅黑" charset="0"/>
                          <a:ea typeface="微软雅黑" charset="0"/>
                        </a:rPr>
                        <a:t>后发性</a:t>
                      </a:r>
                      <a:endParaRPr lang="en-US" altLang="zh-CN" sz="1000" spc="120" dirty="0">
                        <a:latin typeface="微软雅黑" charset="0"/>
                        <a:ea typeface="微软雅黑" charset="0"/>
                      </a:endParaRPr>
                    </a:p>
                    <a:p>
                      <a:pPr algn="ctr">
                        <a:lnSpc>
                          <a:spcPct val="120000"/>
                        </a:lnSpc>
                        <a:spcBef>
                          <a:spcPts val="0"/>
                        </a:spcBef>
                        <a:spcAft>
                          <a:spcPts val="0"/>
                        </a:spcAft>
                        <a:buNone/>
                      </a:pPr>
                      <a:r>
                        <a:rPr lang="zh-CN" altLang="en-US" sz="1000" spc="120" dirty="0">
                          <a:latin typeface="微软雅黑" charset="0"/>
                          <a:ea typeface="微软雅黑" charset="0"/>
                        </a:rPr>
                        <a:t>白内障</a:t>
                      </a:r>
                      <a:endParaRPr lang="zh-CN" altLang="en-US" sz="1000" spc="120" dirty="0">
                        <a:latin typeface="微软雅黑" charset="0"/>
                        <a:ea typeface="微软雅黑" charset="0"/>
                      </a:endParaRPr>
                    </a:p>
                  </a:txBody>
                  <a:tcPr marL="25400" marR="25400" marT="6350" marB="6350" anchor="ctr"/>
                </a:tc>
              </a:tr>
              <a:tr h="315840">
                <a:tc>
                  <a:txBody>
                    <a:bodyPr/>
                    <a:lstStyle/>
                    <a:p>
                      <a:pPr algn="ctr">
                        <a:lnSpc>
                          <a:spcPct val="120000"/>
                        </a:lnSpc>
                        <a:spcBef>
                          <a:spcPts val="0"/>
                        </a:spcBef>
                        <a:spcAft>
                          <a:spcPts val="0"/>
                        </a:spcAft>
                        <a:buNone/>
                      </a:pPr>
                      <a:endParaRPr lang="zh-CN" altLang="en-US"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zh-CN" altLang="en-US" sz="1000" spc="60">
                          <a:latin typeface="微软雅黑" charset="0"/>
                          <a:ea typeface="微软雅黑" charset="0"/>
                          <a:cs typeface="微软雅黑" charset="0"/>
                        </a:rPr>
                        <a:t>阶段</a:t>
                      </a:r>
                      <a:r>
                        <a:rPr lang="en-US" altLang="zh-CN" sz="1000" spc="60">
                          <a:latin typeface="微软雅黑" charset="0"/>
                          <a:ea typeface="微软雅黑" charset="0"/>
                          <a:cs typeface="微软雅黑" charset="0"/>
                        </a:rPr>
                        <a:t>I</a:t>
                      </a:r>
                      <a:endParaRPr lang="en-US" altLang="zh-CN" sz="1000" spc="6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r>
                        <a:rPr lang="zh-CN" altLang="en-US" sz="1000" spc="60">
                          <a:latin typeface="微软雅黑" charset="0"/>
                          <a:ea typeface="微软雅黑" charset="0"/>
                          <a:cs typeface="微软雅黑" charset="0"/>
                        </a:rPr>
                        <a:t>阶段</a:t>
                      </a:r>
                      <a:r>
                        <a:rPr lang="en-US" altLang="zh-CN" sz="1000" spc="60">
                          <a:latin typeface="微软雅黑" charset="0"/>
                          <a:ea typeface="微软雅黑" charset="0"/>
                          <a:cs typeface="微软雅黑" charset="0"/>
                        </a:rPr>
                        <a:t>III</a:t>
                      </a:r>
                      <a:endParaRPr lang="en-US" altLang="zh-CN" sz="1000" spc="6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cs typeface="微软雅黑" charset="0"/>
                        </a:rPr>
                        <a:t>%</a:t>
                      </a:r>
                      <a:r>
                        <a:rPr lang="zh-CN" altLang="en-US" sz="1000" spc="60">
                          <a:latin typeface="微软雅黑" charset="0"/>
                          <a:ea typeface="微软雅黑" charset="0"/>
                          <a:cs typeface="微软雅黑" charset="0"/>
                        </a:rPr>
                        <a:t>变化</a:t>
                      </a:r>
                      <a:endParaRPr lang="zh-CN" altLang="en-US" sz="1000" spc="6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r>
                        <a:rPr lang="zh-CN" altLang="en-US" sz="1000" spc="60">
                          <a:latin typeface="微软雅黑" charset="0"/>
                          <a:ea typeface="微软雅黑" charset="0"/>
                          <a:cs typeface="微软雅黑" charset="0"/>
                        </a:rPr>
                        <a:t>阶段</a:t>
                      </a:r>
                      <a:r>
                        <a:rPr lang="en-US" altLang="zh-CN" sz="1000" spc="60">
                          <a:latin typeface="微软雅黑" charset="0"/>
                          <a:ea typeface="微软雅黑" charset="0"/>
                          <a:cs typeface="微软雅黑" charset="0"/>
                        </a:rPr>
                        <a:t>I</a:t>
                      </a:r>
                      <a:endParaRPr lang="en-US" altLang="zh-CN" sz="1000" spc="6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r>
                        <a:rPr lang="zh-CN" altLang="en-US" sz="1000" spc="60">
                          <a:latin typeface="微软雅黑" charset="0"/>
                          <a:ea typeface="微软雅黑" charset="0"/>
                          <a:cs typeface="微软雅黑" charset="0"/>
                        </a:rPr>
                        <a:t>阶段</a:t>
                      </a:r>
                      <a:r>
                        <a:rPr lang="en-US" altLang="zh-CN" sz="1000" spc="60">
                          <a:latin typeface="微软雅黑" charset="0"/>
                          <a:ea typeface="微软雅黑" charset="0"/>
                          <a:cs typeface="微软雅黑" charset="0"/>
                        </a:rPr>
                        <a:t>III</a:t>
                      </a:r>
                      <a:endParaRPr lang="en-US" altLang="zh-CN" sz="1000" spc="6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cs typeface="微软雅黑" charset="0"/>
                        </a:rPr>
                        <a:t>%</a:t>
                      </a:r>
                      <a:r>
                        <a:rPr lang="zh-CN" altLang="en-US" sz="1000" spc="60" dirty="0">
                          <a:latin typeface="微软雅黑" charset="0"/>
                          <a:ea typeface="微软雅黑" charset="0"/>
                          <a:cs typeface="微软雅黑" charset="0"/>
                        </a:rPr>
                        <a:t>变化</a:t>
                      </a:r>
                      <a:endParaRPr lang="zh-CN" altLang="en-US" sz="1000" spc="60" dirty="0">
                        <a:latin typeface="微软雅黑" charset="0"/>
                        <a:ea typeface="微软雅黑" charset="0"/>
                        <a:cs typeface="微软雅黑" charset="0"/>
                      </a:endParaRPr>
                    </a:p>
                  </a:txBody>
                  <a:tcPr marL="25400" marR="25400" marT="6350" marB="6350" anchor="ctr"/>
                </a:tc>
                <a:tc>
                  <a:txBody>
                    <a:bodyPr/>
                    <a:lstStyle/>
                    <a:p>
                      <a:pPr algn="ctr">
                        <a:lnSpc>
                          <a:spcPct val="120000"/>
                        </a:lnSpc>
                        <a:spcBef>
                          <a:spcPts val="0"/>
                        </a:spcBef>
                        <a:spcAft>
                          <a:spcPts val="0"/>
                        </a:spcAft>
                        <a:buNone/>
                      </a:pPr>
                      <a:endParaRPr lang="en-US" altLang="zh-CN" sz="1000" spc="60" dirty="0">
                        <a:latin typeface="微软雅黑" charset="0"/>
                        <a:ea typeface="微软雅黑" charset="0"/>
                      </a:endParaRPr>
                    </a:p>
                  </a:txBody>
                  <a:tcPr marL="25400" marR="25400" marT="6350" marB="6350" anchor="ctr"/>
                </a:tc>
              </a:tr>
              <a:tr h="285518">
                <a:tc>
                  <a:txBody>
                    <a:bodyPr/>
                    <a:lstStyle/>
                    <a:p>
                      <a:pPr algn="ctr">
                        <a:lnSpc>
                          <a:spcPct val="120000"/>
                        </a:lnSpc>
                        <a:spcBef>
                          <a:spcPts val="0"/>
                        </a:spcBef>
                        <a:spcAft>
                          <a:spcPts val="0"/>
                        </a:spcAft>
                        <a:buNone/>
                      </a:pPr>
                      <a:r>
                        <a:rPr lang="zh-CN" altLang="en-US" sz="1000" spc="60">
                          <a:latin typeface="微软雅黑" charset="0"/>
                          <a:ea typeface="微软雅黑" charset="0"/>
                        </a:rPr>
                        <a:t>对照</a:t>
                      </a:r>
                      <a:endParaRPr lang="zh-CN" altLang="en-US"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8.46</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rPr>
                        <a:t>3.56</a:t>
                      </a:r>
                      <a:endParaRPr lang="en-US" altLang="zh-CN" sz="1000" spc="60" dirty="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rPr>
                        <a:t>4.9(57.9%)</a:t>
                      </a:r>
                      <a:endParaRPr lang="en-US" altLang="zh-CN" sz="1000" spc="60" dirty="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rPr>
                        <a:t>56.18</a:t>
                      </a:r>
                      <a:endParaRPr lang="en-US" altLang="zh-CN" sz="1000" spc="60" dirty="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9.94</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46.24(82.3%)</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44%</a:t>
                      </a:r>
                      <a:endParaRPr lang="en-US" altLang="zh-CN" sz="1000" spc="60">
                        <a:latin typeface="微软雅黑" charset="0"/>
                        <a:ea typeface="微软雅黑" charset="0"/>
                      </a:endParaRPr>
                    </a:p>
                  </a:txBody>
                  <a:tcPr marL="25400" marR="25400" marT="6350" marB="6350" anchor="ctr"/>
                </a:tc>
              </a:tr>
              <a:tr h="315840">
                <a:tc>
                  <a:txBody>
                    <a:bodyPr/>
                    <a:lstStyle/>
                    <a:p>
                      <a:pPr algn="ctr">
                        <a:lnSpc>
                          <a:spcPct val="120000"/>
                        </a:lnSpc>
                        <a:spcBef>
                          <a:spcPts val="0"/>
                        </a:spcBef>
                        <a:spcAft>
                          <a:spcPts val="0"/>
                        </a:spcAft>
                        <a:buNone/>
                      </a:pPr>
                      <a:r>
                        <a:rPr lang="zh-CN" altLang="en-US" sz="1000" spc="60">
                          <a:latin typeface="微软雅黑" charset="0"/>
                          <a:ea typeface="微软雅黑" charset="0"/>
                        </a:rPr>
                        <a:t>氟比洛芬</a:t>
                      </a:r>
                      <a:endParaRPr lang="zh-CN" altLang="en-US"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8.60</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rPr>
                        <a:t>8.01</a:t>
                      </a:r>
                      <a:endParaRPr lang="en-US" altLang="zh-CN" sz="1000" spc="60" dirty="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0.59(6%)</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58.05</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50.24</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a:latin typeface="微软雅黑" charset="0"/>
                          <a:ea typeface="微软雅黑" charset="0"/>
                        </a:rPr>
                        <a:t>-7.81(13.45%)</a:t>
                      </a:r>
                      <a:endParaRPr lang="en-US" altLang="zh-CN" sz="1000" spc="60">
                        <a:latin typeface="微软雅黑" charset="0"/>
                        <a:ea typeface="微软雅黑" charset="0"/>
                      </a:endParaRPr>
                    </a:p>
                  </a:txBody>
                  <a:tcPr marL="25400" marR="25400" marT="6350" marB="6350" anchor="ctr"/>
                </a:tc>
                <a:tc>
                  <a:txBody>
                    <a:bodyPr/>
                    <a:lstStyle/>
                    <a:p>
                      <a:pPr algn="ctr">
                        <a:lnSpc>
                          <a:spcPct val="120000"/>
                        </a:lnSpc>
                        <a:spcBef>
                          <a:spcPts val="0"/>
                        </a:spcBef>
                        <a:spcAft>
                          <a:spcPts val="0"/>
                        </a:spcAft>
                        <a:buNone/>
                      </a:pPr>
                      <a:r>
                        <a:rPr lang="en-US" altLang="zh-CN" sz="1000" spc="60" dirty="0">
                          <a:latin typeface="微软雅黑" charset="0"/>
                          <a:ea typeface="微软雅黑" charset="0"/>
                        </a:rPr>
                        <a:t>8%</a:t>
                      </a:r>
                      <a:endParaRPr lang="en-US" altLang="zh-CN" sz="1000" spc="60" dirty="0">
                        <a:latin typeface="微软雅黑" charset="0"/>
                        <a:ea typeface="微软雅黑" charset="0"/>
                      </a:endParaRPr>
                    </a:p>
                  </a:txBody>
                  <a:tcPr marL="25400" marR="25400" marT="6350" marB="6350" anchor="ctr"/>
                </a:tc>
              </a:tr>
            </a:tbl>
          </a:graphicData>
        </a:graphic>
      </p:graphicFrame>
      <p:grpSp>
        <p:nvGrpSpPr>
          <p:cNvPr id="34" name="组合 33"/>
          <p:cNvGrpSpPr/>
          <p:nvPr/>
        </p:nvGrpSpPr>
        <p:grpSpPr>
          <a:xfrm>
            <a:off x="6319085" y="1764329"/>
            <a:ext cx="5224691" cy="4435112"/>
            <a:chOff x="6319085" y="1764329"/>
            <a:chExt cx="5224691" cy="4435112"/>
          </a:xfrm>
        </p:grpSpPr>
        <p:grpSp>
          <p:nvGrpSpPr>
            <p:cNvPr id="23" name="Group 21"/>
            <p:cNvGrpSpPr/>
            <p:nvPr/>
          </p:nvGrpSpPr>
          <p:grpSpPr>
            <a:xfrm>
              <a:off x="6319085" y="1764329"/>
              <a:ext cx="5224691" cy="430724"/>
              <a:chOff x="803576" y="2047875"/>
              <a:chExt cx="5202452" cy="430724"/>
            </a:xfrm>
          </p:grpSpPr>
          <p:sp>
            <p:nvSpPr>
              <p:cNvPr id="24" name="object 25"/>
              <p:cNvSpPr txBox="1"/>
              <p:nvPr/>
            </p:nvSpPr>
            <p:spPr>
              <a:xfrm>
                <a:off x="803576" y="2060017"/>
                <a:ext cx="5202452" cy="388076"/>
              </a:xfrm>
              <a:prstGeom prst="rect">
                <a:avLst/>
              </a:prstGeom>
              <a:solidFill>
                <a:schemeClr val="bg1">
                  <a:lumMod val="95000"/>
                </a:schemeClr>
              </a:solidFill>
            </p:spPr>
            <p:txBody>
              <a:bodyPr vert="horz" wrap="square" lIns="182880" tIns="0" rIns="182880" bIns="0" rtlCol="0" anchor="ctr">
                <a:noAutofit/>
              </a:bodyPr>
              <a:lstStyle/>
              <a:p>
                <a:r>
                  <a:rPr lang="zh-CN" altLang="en-US" sz="1600" b="1" dirty="0">
                    <a:solidFill>
                      <a:srgbClr val="302E5D"/>
                    </a:solidFill>
                    <a:latin typeface="微软雅黑" charset="0"/>
                    <a:ea typeface="微软雅黑" charset="0"/>
                    <a:cs typeface="微软雅黑"/>
                  </a:rPr>
                  <a:t>氟比洛芬钠</a:t>
                </a:r>
                <a:r>
                  <a:rPr lang="en-US" altLang="zh-CN" sz="1600" b="1" dirty="0">
                    <a:solidFill>
                      <a:srgbClr val="302E5D"/>
                    </a:solidFill>
                    <a:latin typeface="微软雅黑" charset="0"/>
                    <a:ea typeface="微软雅黑" charset="0"/>
                    <a:cs typeface="微软雅黑"/>
                  </a:rPr>
                  <a:t>vs.</a:t>
                </a:r>
                <a:r>
                  <a:rPr lang="zh-CN" altLang="en-US" sz="1600" b="1" dirty="0">
                    <a:solidFill>
                      <a:srgbClr val="302E5D"/>
                    </a:solidFill>
                    <a:latin typeface="微软雅黑" charset="0"/>
                    <a:ea typeface="微软雅黑" charset="0"/>
                    <a:cs typeface="微软雅黑"/>
                  </a:rPr>
                  <a:t>复方托品酰胺</a:t>
                </a:r>
                <a:endParaRPr lang="en-US" altLang="zh-CN" sz="1600" b="1" dirty="0">
                  <a:solidFill>
                    <a:srgbClr val="302E5D"/>
                  </a:solidFill>
                  <a:latin typeface="微软雅黑" charset="0"/>
                  <a:ea typeface="微软雅黑" charset="0"/>
                  <a:cs typeface="微软雅黑"/>
                </a:endParaRPr>
              </a:p>
            </p:txBody>
          </p:sp>
          <p:sp>
            <p:nvSpPr>
              <p:cNvPr id="25" name="Half Frame 19"/>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sp>
            <p:nvSpPr>
              <p:cNvPr id="26" name="Half Frame 20"/>
              <p:cNvSpPr/>
              <p:nvPr/>
            </p:nvSpPr>
            <p:spPr>
              <a:xfrm rot="10800000">
                <a:off x="5772555" y="2245126"/>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微软雅黑" charset="0"/>
                  <a:ea typeface="微软雅黑" charset="0"/>
                </a:endParaRPr>
              </a:p>
            </p:txBody>
          </p:sp>
        </p:grpSp>
        <p:graphicFrame>
          <p:nvGraphicFramePr>
            <p:cNvPr id="27" name="图表 26"/>
            <p:cNvGraphicFramePr/>
            <p:nvPr/>
          </p:nvGraphicFramePr>
          <p:xfrm>
            <a:off x="6776720" y="3843219"/>
            <a:ext cx="4297680" cy="2356222"/>
          </p:xfrm>
          <a:graphic>
            <a:graphicData uri="http://schemas.openxmlformats.org/drawingml/2006/chart">
              <c:chart xmlns:c="http://schemas.openxmlformats.org/drawingml/2006/chart" xmlns:r="http://schemas.openxmlformats.org/officeDocument/2006/relationships" r:id="rId1"/>
            </a:graphicData>
          </a:graphic>
        </p:graphicFrame>
        <p:sp>
          <p:nvSpPr>
            <p:cNvPr id="29" name="文本框 28"/>
            <p:cNvSpPr txBox="1"/>
            <p:nvPr/>
          </p:nvSpPr>
          <p:spPr>
            <a:xfrm>
              <a:off x="6319085" y="2359179"/>
              <a:ext cx="5224691" cy="1319913"/>
            </a:xfrm>
            <a:prstGeom prst="rect">
              <a:avLst/>
            </a:prstGeom>
            <a:noFill/>
          </p:spPr>
          <p:txBody>
            <a:bodyPr wrap="square" rtlCol="0">
              <a:spAutoFit/>
            </a:bodyPr>
            <a:lstStyle/>
            <a:p>
              <a:pPr algn="just">
                <a:lnSpc>
                  <a:spcPct val="120000"/>
                </a:lnSpc>
              </a:pPr>
              <a:r>
                <a:rPr lang="zh-CN" altLang="en-US" sz="1600" dirty="0">
                  <a:latin typeface="微软雅黑" charset="0"/>
                  <a:ea typeface="微软雅黑" charset="0"/>
                  <a:cs typeface="微软雅黑" charset="0"/>
                  <a:sym typeface="+mn-ea"/>
                </a:rPr>
                <a:t>人工晶体植入术术前使用氟比洛芬钠滴眼液的患者中术中瞳孔缩小</a:t>
              </a:r>
              <a:r>
                <a:rPr lang="en-US" altLang="zh-CN" sz="1600" dirty="0">
                  <a:latin typeface="微软雅黑" charset="0"/>
                  <a:ea typeface="微软雅黑" charset="0"/>
                  <a:cs typeface="微软雅黑" charset="0"/>
                  <a:sym typeface="+mn-ea"/>
                </a:rPr>
                <a:t>2</a:t>
              </a:r>
              <a:r>
                <a:rPr lang="zh-CN" altLang="en-US" sz="1600" dirty="0">
                  <a:latin typeface="微软雅黑" charset="0"/>
                  <a:ea typeface="微软雅黑" charset="0"/>
                  <a:cs typeface="微软雅黑" charset="0"/>
                  <a:sym typeface="+mn-ea"/>
                </a:rPr>
                <a:t>级以上的只有</a:t>
              </a:r>
              <a:r>
                <a:rPr lang="en-US" altLang="zh-CN" sz="1600" dirty="0">
                  <a:latin typeface="微软雅黑" charset="0"/>
                  <a:ea typeface="微软雅黑" charset="0"/>
                  <a:cs typeface="微软雅黑" charset="0"/>
                  <a:sym typeface="+mn-ea"/>
                </a:rPr>
                <a:t>3</a:t>
              </a:r>
              <a:r>
                <a:rPr lang="zh-CN" altLang="en-US" sz="1600" dirty="0">
                  <a:latin typeface="微软雅黑" charset="0"/>
                  <a:ea typeface="微软雅黑" charset="0"/>
                  <a:cs typeface="微软雅黑" charset="0"/>
                  <a:sym typeface="+mn-ea"/>
                </a:rPr>
                <a:t>例（</a:t>
              </a:r>
              <a:r>
                <a:rPr lang="en-US" altLang="zh-CN" sz="1600" dirty="0">
                  <a:latin typeface="微软雅黑" charset="0"/>
                  <a:ea typeface="微软雅黑" charset="0"/>
                  <a:cs typeface="微软雅黑" charset="0"/>
                  <a:sym typeface="+mn-ea"/>
                </a:rPr>
                <a:t>10.7%</a:t>
              </a:r>
              <a:r>
                <a:rPr lang="zh-CN" altLang="en-US" sz="1600" dirty="0">
                  <a:latin typeface="微软雅黑" charset="0"/>
                  <a:ea typeface="微软雅黑" charset="0"/>
                  <a:cs typeface="微软雅黑" charset="0"/>
                  <a:sym typeface="+mn-ea"/>
                </a:rPr>
                <a:t>），而在对照组中瞳孔缩小</a:t>
              </a:r>
              <a:r>
                <a:rPr lang="en-US" altLang="zh-CN" sz="1600" dirty="0">
                  <a:latin typeface="微软雅黑" charset="0"/>
                  <a:ea typeface="微软雅黑" charset="0"/>
                  <a:cs typeface="微软雅黑" charset="0"/>
                  <a:sym typeface="+mn-ea"/>
                </a:rPr>
                <a:t>2</a:t>
              </a:r>
              <a:r>
                <a:rPr lang="zh-CN" altLang="en-US" sz="1600" dirty="0">
                  <a:latin typeface="微软雅黑" charset="0"/>
                  <a:ea typeface="微软雅黑" charset="0"/>
                  <a:cs typeface="微软雅黑" charset="0"/>
                  <a:sym typeface="+mn-ea"/>
                </a:rPr>
                <a:t>级以上者有</a:t>
              </a:r>
              <a:r>
                <a:rPr lang="en-US" altLang="zh-CN" sz="1600" dirty="0">
                  <a:latin typeface="微软雅黑" charset="0"/>
                  <a:ea typeface="微软雅黑" charset="0"/>
                  <a:cs typeface="微软雅黑" charset="0"/>
                  <a:sym typeface="+mn-ea"/>
                </a:rPr>
                <a:t>15</a:t>
              </a:r>
              <a:r>
                <a:rPr lang="zh-CN" altLang="en-US" sz="1600" dirty="0">
                  <a:latin typeface="微软雅黑" charset="0"/>
                  <a:ea typeface="微软雅黑" charset="0"/>
                  <a:cs typeface="微软雅黑" charset="0"/>
                  <a:sym typeface="+mn-ea"/>
                </a:rPr>
                <a:t>例（</a:t>
              </a:r>
              <a:r>
                <a:rPr lang="en-US" altLang="zh-CN" sz="1600" dirty="0">
                  <a:latin typeface="微软雅黑" charset="0"/>
                  <a:ea typeface="微软雅黑" charset="0"/>
                  <a:cs typeface="微软雅黑" charset="0"/>
                  <a:sym typeface="+mn-ea"/>
                </a:rPr>
                <a:t>62.5%</a:t>
              </a:r>
              <a:r>
                <a:rPr lang="zh-CN" altLang="en-US" sz="1600" dirty="0">
                  <a:latin typeface="微软雅黑" charset="0"/>
                  <a:ea typeface="微软雅黑" charset="0"/>
                  <a:cs typeface="微软雅黑" charset="0"/>
                  <a:sym typeface="+mn-ea"/>
                </a:rPr>
                <a:t>），</a:t>
              </a:r>
              <a:r>
                <a:rPr lang="zh-CN" altLang="en-US" b="1" dirty="0">
                  <a:solidFill>
                    <a:schemeClr val="accent1">
                      <a:lumMod val="75000"/>
                    </a:schemeClr>
                  </a:solidFill>
                  <a:latin typeface="微软雅黑" charset="0"/>
                  <a:ea typeface="微软雅黑" charset="0"/>
                  <a:cs typeface="微软雅黑" charset="0"/>
                  <a:sym typeface="+mn-ea"/>
                </a:rPr>
                <a:t>两组间差异有非常显著性意义</a:t>
              </a:r>
              <a:r>
                <a:rPr lang="zh-CN" altLang="en-US" sz="1600" dirty="0">
                  <a:latin typeface="微软雅黑" charset="0"/>
                  <a:ea typeface="微软雅黑" charset="0"/>
                  <a:cs typeface="微软雅黑" charset="0"/>
                  <a:sym typeface="+mn-ea"/>
                </a:rPr>
                <a:t>（</a:t>
              </a:r>
              <a:r>
                <a:rPr lang="en-US" altLang="zh-CN" sz="1600" dirty="0">
                  <a:latin typeface="微软雅黑" charset="0"/>
                  <a:ea typeface="微软雅黑" charset="0"/>
                  <a:cs typeface="微软雅黑" charset="0"/>
                  <a:sym typeface="+mn-ea"/>
                </a:rPr>
                <a:t>P&lt;0.01</a:t>
              </a:r>
              <a:r>
                <a:rPr lang="zh-CN" altLang="en-US" sz="1600" dirty="0">
                  <a:latin typeface="微软雅黑" charset="0"/>
                  <a:ea typeface="微软雅黑" charset="0"/>
                  <a:cs typeface="微软雅黑" charset="0"/>
                  <a:sym typeface="+mn-ea"/>
                </a:rPr>
                <a:t>）。</a:t>
              </a:r>
              <a:endParaRPr lang="zh-CN" altLang="en-US" sz="1600" dirty="0"/>
            </a:p>
          </p:txBody>
        </p:sp>
      </p:grpSp>
      <p:sp>
        <p:nvSpPr>
          <p:cNvPr id="30" name="文本框 29"/>
          <p:cNvSpPr txBox="1"/>
          <p:nvPr/>
        </p:nvSpPr>
        <p:spPr>
          <a:xfrm>
            <a:off x="838606" y="6450213"/>
            <a:ext cx="5668645" cy="338554"/>
          </a:xfrm>
          <a:prstGeom prst="rect">
            <a:avLst/>
          </a:prstGeom>
          <a:noFill/>
        </p:spPr>
        <p:txBody>
          <a:bodyPr wrap="square" rtlCol="0">
            <a:spAutoFit/>
          </a:bodyPr>
          <a:lstStyle/>
          <a:p>
            <a:r>
              <a:rPr lang="en-US" altLang="zh-CN" sz="800" i="1" dirty="0">
                <a:solidFill>
                  <a:schemeClr val="bg2">
                    <a:lumMod val="50000"/>
                  </a:schemeClr>
                </a:solidFill>
                <a:latin typeface="微软雅黑" charset="0"/>
                <a:ea typeface="微软雅黑" charset="0"/>
                <a:cs typeface="微软雅黑" charset="0"/>
                <a:sym typeface="+mn-ea"/>
              </a:rPr>
              <a:t>Indian journal of ophthalmology, 1992, 40(4):109-114.</a:t>
            </a:r>
            <a:endParaRPr lang="en-US" altLang="zh-CN" sz="800" i="1" dirty="0">
              <a:solidFill>
                <a:schemeClr val="bg2">
                  <a:lumMod val="50000"/>
                </a:schemeClr>
              </a:solidFill>
              <a:latin typeface="微软雅黑" charset="0"/>
              <a:ea typeface="微软雅黑" charset="0"/>
              <a:cs typeface="微软雅黑" charset="0"/>
              <a:sym typeface="+mn-ea"/>
            </a:endParaRPr>
          </a:p>
          <a:p>
            <a:r>
              <a:rPr lang="zh-CN" altLang="en-US" sz="800" i="1" dirty="0">
                <a:solidFill>
                  <a:schemeClr val="bg2">
                    <a:lumMod val="50000"/>
                  </a:schemeClr>
                </a:solidFill>
                <a:latin typeface="微软雅黑" charset="0"/>
                <a:ea typeface="微软雅黑" charset="0"/>
                <a:cs typeface="微软雅黑" charset="0"/>
                <a:sym typeface="+mn-ea"/>
              </a:rPr>
              <a:t>许时</a:t>
            </a:r>
            <a:r>
              <a:rPr lang="en-US" altLang="zh-CN" sz="800" i="1" dirty="0">
                <a:solidFill>
                  <a:schemeClr val="bg2">
                    <a:lumMod val="50000"/>
                  </a:schemeClr>
                </a:solidFill>
                <a:latin typeface="微软雅黑" charset="0"/>
                <a:ea typeface="微软雅黑" charset="0"/>
                <a:cs typeface="微软雅黑" charset="0"/>
                <a:sym typeface="+mn-ea"/>
              </a:rPr>
              <a:t>.</a:t>
            </a:r>
            <a:r>
              <a:rPr lang="zh-CN" altLang="en-US" sz="800" i="1" dirty="0">
                <a:solidFill>
                  <a:schemeClr val="bg2">
                    <a:lumMod val="50000"/>
                  </a:schemeClr>
                </a:solidFill>
                <a:latin typeface="微软雅黑" charset="0"/>
                <a:ea typeface="微软雅黑" charset="0"/>
                <a:cs typeface="微软雅黑" charset="0"/>
                <a:sym typeface="+mn-ea"/>
              </a:rPr>
              <a:t>欧可芬滴眼液在人工晶体植入术中的应用观察</a:t>
            </a:r>
            <a:r>
              <a:rPr lang="en-US" altLang="zh-CN" sz="800" i="1" dirty="0">
                <a:solidFill>
                  <a:schemeClr val="bg2">
                    <a:lumMod val="50000"/>
                  </a:schemeClr>
                </a:solidFill>
                <a:latin typeface="微软雅黑" charset="0"/>
                <a:ea typeface="微软雅黑" charset="0"/>
                <a:cs typeface="微软雅黑" charset="0"/>
                <a:sym typeface="+mn-ea"/>
              </a:rPr>
              <a:t>[J].</a:t>
            </a:r>
            <a:r>
              <a:rPr lang="zh-CN" altLang="en-US" sz="800" i="1" dirty="0">
                <a:solidFill>
                  <a:schemeClr val="bg2">
                    <a:lumMod val="50000"/>
                  </a:schemeClr>
                </a:solidFill>
                <a:latin typeface="微软雅黑" charset="0"/>
                <a:ea typeface="微软雅黑" charset="0"/>
                <a:cs typeface="微软雅黑" charset="0"/>
                <a:sym typeface="+mn-ea"/>
              </a:rPr>
              <a:t>江苏临床医学杂志</a:t>
            </a:r>
            <a:r>
              <a:rPr lang="en-US" altLang="zh-CN" sz="800" i="1" dirty="0">
                <a:solidFill>
                  <a:schemeClr val="bg2">
                    <a:lumMod val="50000"/>
                  </a:schemeClr>
                </a:solidFill>
                <a:latin typeface="微软雅黑" charset="0"/>
                <a:ea typeface="微软雅黑" charset="0"/>
                <a:cs typeface="微软雅黑" charset="0"/>
                <a:sym typeface="+mn-ea"/>
              </a:rPr>
              <a:t>, 2001, 5(5):429-430.</a:t>
            </a:r>
            <a:endParaRPr lang="zh-CN" altLang="en-US" sz="800" dirty="0">
              <a:solidFill>
                <a:schemeClr val="bg2">
                  <a:lumMod val="50000"/>
                </a:schemeClr>
              </a:solidFill>
              <a:latin typeface="微软雅黑" charset="0"/>
              <a:ea typeface="微软雅黑" charset="0"/>
              <a:cs typeface="微软雅黑"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447040" y="234639"/>
            <a:ext cx="11338560" cy="493943"/>
          </a:xfrm>
        </p:spPr>
        <p:txBody>
          <a:bodyPr vert="horz"/>
          <a:lstStyle/>
          <a:p>
            <a:r>
              <a:rPr lang="zh-CN" altLang="en-US" sz="2400" dirty="0">
                <a:latin typeface="微软雅黑" charset="0"/>
                <a:ea typeface="微软雅黑" charset="0"/>
                <a:cs typeface="微软雅黑" charset="0"/>
              </a:rPr>
              <a:t>氟比洛芬钠的缩瞳抗炎双重临床用药场景</a:t>
            </a:r>
            <a:r>
              <a:rPr lang="zh-CN" altLang="en-US" sz="2400" dirty="0">
                <a:solidFill>
                  <a:srgbClr val="C00000"/>
                </a:solidFill>
                <a:latin typeface="微软雅黑" charset="0"/>
                <a:ea typeface="微软雅黑" charset="0"/>
                <a:cs typeface="微软雅黑" charset="0"/>
              </a:rPr>
              <a:t>已被多项国内外权威指南推荐</a:t>
            </a:r>
            <a:endParaRPr lang="en-US" sz="2400" dirty="0">
              <a:solidFill>
                <a:srgbClr val="C00000"/>
              </a:solidFill>
              <a:latin typeface="微软雅黑" charset="0"/>
              <a:ea typeface="微软雅黑" charset="0"/>
              <a:cs typeface="微软雅黑" charset="0"/>
            </a:endParaRPr>
          </a:p>
        </p:txBody>
      </p:sp>
      <p:graphicFrame>
        <p:nvGraphicFramePr>
          <p:cNvPr id="61" name="object 11"/>
          <p:cNvGraphicFramePr>
            <a:graphicFrameLocks noGrp="1"/>
          </p:cNvGraphicFramePr>
          <p:nvPr/>
        </p:nvGraphicFramePr>
        <p:xfrm>
          <a:off x="712311" y="1616578"/>
          <a:ext cx="10829449" cy="4364016"/>
        </p:xfrm>
        <a:graphic>
          <a:graphicData uri="http://schemas.openxmlformats.org/drawingml/2006/table">
            <a:tbl>
              <a:tblPr firstRow="1" bandRow="1">
                <a:tableStyleId>{2D5ABB26-0587-4C30-8999-92F81FD0307C}</a:tableStyleId>
              </a:tblPr>
              <a:tblGrid>
                <a:gridCol w="5790089"/>
                <a:gridCol w="5039360"/>
              </a:tblGrid>
              <a:tr h="409575">
                <a:tc>
                  <a:txBody>
                    <a:bodyPr/>
                    <a:lstStyle/>
                    <a:p>
                      <a:pPr algn="ctr">
                        <a:lnSpc>
                          <a:spcPct val="100000"/>
                        </a:lnSpc>
                        <a:spcBef>
                          <a:spcPts val="210"/>
                        </a:spcBef>
                      </a:pPr>
                      <a:r>
                        <a:rPr sz="1500" b="1" spc="-15" dirty="0" err="1">
                          <a:solidFill>
                            <a:srgbClr val="FFFFFF"/>
                          </a:solidFill>
                          <a:latin typeface="微软雅黑" charset="0"/>
                          <a:ea typeface="微软雅黑" charset="0"/>
                          <a:cs typeface="微软雅黑"/>
                        </a:rPr>
                        <a:t>临床指南</a:t>
                      </a:r>
                      <a:r>
                        <a:rPr lang="en-US" sz="1500" b="1" spc="-15" dirty="0">
                          <a:solidFill>
                            <a:srgbClr val="FFFFFF"/>
                          </a:solidFill>
                          <a:latin typeface="微软雅黑" charset="0"/>
                          <a:ea typeface="微软雅黑" charset="0"/>
                          <a:cs typeface="微软雅黑"/>
                        </a:rPr>
                        <a:t>/</a:t>
                      </a:r>
                      <a:r>
                        <a:rPr lang="zh-CN" altLang="en-US" sz="1500" b="1" spc="-15" dirty="0">
                          <a:solidFill>
                            <a:srgbClr val="FFFFFF"/>
                          </a:solidFill>
                          <a:latin typeface="微软雅黑" charset="0"/>
                          <a:ea typeface="微软雅黑" charset="0"/>
                          <a:cs typeface="微软雅黑"/>
                        </a:rPr>
                        <a:t>共识</a:t>
                      </a:r>
                      <a:endParaRPr sz="1500" b="1" spc="-15" dirty="0" err="1">
                        <a:solidFill>
                          <a:srgbClr val="FFFFFF"/>
                        </a:solidFill>
                        <a:latin typeface="微软雅黑" charset="0"/>
                        <a:ea typeface="微软雅黑" charset="0"/>
                        <a:cs typeface="微软雅黑"/>
                      </a:endParaRPr>
                    </a:p>
                  </a:txBody>
                  <a:tcPr marL="0" marR="0" marT="0" marB="0" anchor="ctr">
                    <a:lnL w="12700" cap="flat" cmpd="sng" algn="ctr">
                      <a:solidFill>
                        <a:schemeClr val="accent1"/>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lnSpc>
                          <a:spcPct val="100000"/>
                        </a:lnSpc>
                        <a:spcBef>
                          <a:spcPts val="210"/>
                        </a:spcBef>
                      </a:pPr>
                      <a:r>
                        <a:rPr lang="zh-CN" altLang="en-US" sz="1500" b="1" spc="-20" dirty="0">
                          <a:solidFill>
                            <a:srgbClr val="FFFFFF"/>
                          </a:solidFill>
                          <a:latin typeface="微软雅黑" charset="0"/>
                          <a:ea typeface="微软雅黑" charset="0"/>
                          <a:cs typeface="微软雅黑"/>
                        </a:rPr>
                        <a:t>推荐描述</a:t>
                      </a:r>
                      <a:endParaRPr lang="zh-CN" altLang="en-US" sz="1500" b="1" spc="-20" dirty="0">
                        <a:solidFill>
                          <a:srgbClr val="FFFFFF"/>
                        </a:solidFill>
                        <a:latin typeface="微软雅黑" charset="0"/>
                        <a:ea typeface="微软雅黑" charset="0"/>
                        <a:cs typeface="微软雅黑"/>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r>
              <a:tr h="579098">
                <a:tc>
                  <a:txBody>
                    <a:bodyPr/>
                    <a:lstStyle/>
                    <a:p>
                      <a:pPr marL="574675" marR="0" lvl="0" indent="0" algn="l" defTabSz="914400" rtl="0" eaLnBrk="1" fontAlgn="auto" latinLnBrk="0" hangingPunct="1">
                        <a:lnSpc>
                          <a:spcPct val="100000"/>
                        </a:lnSpc>
                        <a:spcBef>
                          <a:spcPts val="0"/>
                        </a:spcBef>
                        <a:spcAft>
                          <a:spcPts val="0"/>
                        </a:spcAft>
                        <a:buClrTx/>
                        <a:buSzTx/>
                        <a:buFontTx/>
                        <a:buNone/>
                        <a:defRPr/>
                      </a:pPr>
                      <a:r>
                        <a:rPr lang="zh-CN" altLang="en-US" sz="1300" b="1" kern="1200" spc="-10" dirty="0">
                          <a:solidFill>
                            <a:schemeClr val="tx1"/>
                          </a:solidFill>
                          <a:latin typeface="微软雅黑" charset="0"/>
                          <a:ea typeface="微软雅黑" charset="0"/>
                          <a:cs typeface="Arial" panose="020B0604020202090204" pitchFamily="34" charset="0"/>
                        </a:rPr>
                        <a:t>白内障围手术期非感染性炎症防治专家共识（2015年）</a:t>
                      </a:r>
                      <a:endParaRPr lang="zh-CN" altLang="en-US" sz="1300" b="1" kern="1200" spc="-10" dirty="0">
                        <a:solidFill>
                          <a:schemeClr val="tx1"/>
                        </a:solidFill>
                        <a:latin typeface="微软雅黑" charset="0"/>
                        <a:ea typeface="微软雅黑" charset="0"/>
                        <a:cs typeface="Arial" panose="020B0604020202090204" pitchFamily="34" charset="0"/>
                      </a:endParaRPr>
                    </a:p>
                  </a:txBody>
                  <a:tcPr marR="45720" marT="0" marB="0" anchor="ctr">
                    <a:lnL w="12700">
                      <a:solidFill>
                        <a:srgbClr val="FFFFFF"/>
                      </a:solidFill>
                      <a:prstDash val="solid"/>
                    </a:lnL>
                    <a:lnR w="12700">
                      <a:solidFill>
                        <a:srgbClr val="FFFFFF"/>
                      </a:solidFill>
                      <a:prstDash val="solid"/>
                    </a:lnR>
                    <a:lnT w="12700" cap="flat" cmpd="sng" algn="ctr">
                      <a:solidFill>
                        <a:schemeClr val="accent1"/>
                      </a:solidFill>
                      <a:prstDash val="solid"/>
                      <a:round/>
                      <a:headEnd type="none" w="med" len="med"/>
                      <a:tailEnd type="none" w="med" len="med"/>
                    </a:lnT>
                    <a:lnB w="12700">
                      <a:solidFill>
                        <a:srgbClr val="E6B8B8"/>
                      </a:solidFill>
                      <a:prstDash val="solid"/>
                    </a:lnB>
                    <a:solidFill>
                      <a:srgbClr val="F3F3F7"/>
                    </a:solidFill>
                  </a:tcPr>
                </a:tc>
                <a:tc>
                  <a:txBody>
                    <a:bodyPr/>
                    <a:lstStyle/>
                    <a:p>
                      <a:pPr algn="just">
                        <a:lnSpc>
                          <a:spcPct val="150000"/>
                        </a:lnSpc>
                        <a:buNone/>
                      </a:pPr>
                      <a:r>
                        <a:rPr sz="1400" b="1" dirty="0" err="1">
                          <a:solidFill>
                            <a:srgbClr val="302E5D"/>
                          </a:solidFill>
                          <a:latin typeface="微软雅黑" charset="0"/>
                          <a:ea typeface="微软雅黑" charset="0"/>
                          <a:cs typeface="微软雅黑" charset="0"/>
                          <a:sym typeface="+mn-ea"/>
                        </a:rPr>
                        <a:t>推荐NSAIDs用于抑制手术诱发的瞳孔缩小和炎症反应</a:t>
                      </a:r>
                      <a:endParaRPr lang="zh-CN" altLang="en-US" sz="1400" b="1" dirty="0">
                        <a:solidFill>
                          <a:srgbClr val="302E5D"/>
                        </a:solidFill>
                        <a:latin typeface="微软雅黑" charset="0"/>
                        <a:ea typeface="微软雅黑" charset="0"/>
                        <a:cs typeface="微软雅黑" charset="0"/>
                        <a:sym typeface="+mn-ea"/>
                      </a:endParaRPr>
                    </a:p>
                  </a:txBody>
                  <a:tcPr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r>
              <a:tr h="579098">
                <a:tc>
                  <a:txBody>
                    <a:bodyPr/>
                    <a:lstStyle/>
                    <a:p>
                      <a:pPr marL="574675" algn="l" defTabSz="914400" rtl="0" eaLnBrk="1" fontAlgn="auto" latinLnBrk="0" hangingPunct="1">
                        <a:lnSpc>
                          <a:spcPct val="100000"/>
                        </a:lnSpc>
                        <a:spcBef>
                          <a:spcPts val="0"/>
                        </a:spcBef>
                        <a:spcAft>
                          <a:spcPts val="0"/>
                        </a:spcAft>
                        <a:buClrTx/>
                        <a:buSzTx/>
                        <a:buFontTx/>
                        <a:buNone/>
                        <a:defRPr/>
                      </a:pPr>
                      <a:r>
                        <a:rPr lang="zh-CN" altLang="en-US" sz="1300" b="1" kern="1200" spc="-10" dirty="0">
                          <a:solidFill>
                            <a:schemeClr val="tx1"/>
                          </a:solidFill>
                          <a:latin typeface="微软雅黑" charset="0"/>
                          <a:ea typeface="微软雅黑" charset="0"/>
                          <a:cs typeface="Arial" panose="020B0604020202090204" pitchFamily="34" charset="0"/>
                        </a:rPr>
                        <a:t>成人白内障手术操作规范（2026年版）</a:t>
                      </a:r>
                      <a:endParaRPr lang="zh-CN" altLang="en-US" sz="1300" b="1" kern="1200" spc="-10" dirty="0">
                        <a:solidFill>
                          <a:schemeClr val="tx1"/>
                        </a:solidFill>
                        <a:latin typeface="微软雅黑" charset="0"/>
                        <a:ea typeface="微软雅黑" charset="0"/>
                        <a:cs typeface="Arial" panose="020B060402020209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solidFill>
                      <a:srgbClr val="F3F3F7"/>
                    </a:solidFill>
                  </a:tcPr>
                </a:tc>
                <a:tc>
                  <a:txBody>
                    <a:bodyPr/>
                    <a:lstStyle/>
                    <a:p>
                      <a:pPr algn="just">
                        <a:lnSpc>
                          <a:spcPct val="150000"/>
                        </a:lnSpc>
                      </a:pPr>
                      <a:r>
                        <a:rPr sz="1400" b="1" dirty="0" err="1">
                          <a:solidFill>
                            <a:srgbClr val="302E5D"/>
                          </a:solidFill>
                          <a:latin typeface="微软雅黑" charset="0"/>
                          <a:ea typeface="微软雅黑" charset="0"/>
                          <a:cs typeface="微软雅黑" charset="0"/>
                          <a:sym typeface="+mn-ea"/>
                        </a:rPr>
                        <a:t>推荐术前应用散瞳剂联合非甾体类抗炎药</a:t>
                      </a:r>
                      <a:r>
                        <a:rPr sz="1400" b="0" dirty="0" err="1">
                          <a:solidFill>
                            <a:srgbClr val="2D343E"/>
                          </a:solidFill>
                          <a:latin typeface="微软雅黑" charset="0"/>
                          <a:ea typeface="微软雅黑" charset="0"/>
                          <a:cs typeface="微软雅黑" charset="0"/>
                          <a:sym typeface="+mn-ea"/>
                        </a:rPr>
                        <a:t>，并尽量缩短飞秒激光操作与白内障超声乳化操作之间的时间间隔</a:t>
                      </a:r>
                      <a:r>
                        <a:rPr lang="zh-CN" altLang="en-US" sz="1400" b="0" dirty="0">
                          <a:solidFill>
                            <a:srgbClr val="2D343E"/>
                          </a:solidFill>
                          <a:latin typeface="微软雅黑" charset="0"/>
                          <a:ea typeface="微软雅黑" charset="0"/>
                          <a:cs typeface="微软雅黑" charset="0"/>
                          <a:sym typeface="+mn-ea"/>
                        </a:rPr>
                        <a:t>。</a:t>
                      </a:r>
                      <a:endParaRPr lang="en-US" sz="1400" b="0" dirty="0">
                        <a:solidFill>
                          <a:srgbClr val="2D343E"/>
                        </a:solidFill>
                        <a:latin typeface="微软雅黑" charset="0"/>
                        <a:ea typeface="微软雅黑" charset="0"/>
                        <a:cs typeface="微软雅黑" charset="0"/>
                      </a:endParaRPr>
                    </a:p>
                    <a:p>
                      <a:pPr algn="just">
                        <a:lnSpc>
                          <a:spcPct val="150000"/>
                        </a:lnSpc>
                      </a:pPr>
                      <a:r>
                        <a:rPr sz="1400" b="0" dirty="0" err="1">
                          <a:solidFill>
                            <a:srgbClr val="302E5D"/>
                          </a:solidFill>
                          <a:latin typeface="微软雅黑" charset="0"/>
                          <a:ea typeface="微软雅黑" charset="0"/>
                          <a:cs typeface="微软雅黑" charset="0"/>
                          <a:sym typeface="+mn-ea"/>
                        </a:rPr>
                        <a:t>建议在围手术期使用非甾体类抗炎药物</a:t>
                      </a:r>
                      <a:r>
                        <a:rPr lang="zh-CN" altLang="en-US" sz="1400" b="0" dirty="0">
                          <a:latin typeface="微软雅黑" charset="0"/>
                          <a:ea typeface="微软雅黑" charset="0"/>
                          <a:cs typeface="微软雅黑" charset="0"/>
                          <a:sym typeface="+mn-ea"/>
                        </a:rPr>
                        <a:t>，以预防术中瞳孔缩小、黄斑囊样水肿，减轻炎症反应。</a:t>
                      </a:r>
                      <a:endParaRPr lang="zh-CN" altLang="en-US" sz="1400" b="0" dirty="0">
                        <a:latin typeface="微软雅黑" charset="0"/>
                        <a:ea typeface="微软雅黑" charset="0"/>
                        <a:cs typeface="微软雅黑" charset="0"/>
                        <a:sym typeface="+mn-ea"/>
                      </a:endParaRPr>
                    </a:p>
                  </a:txBody>
                  <a:tcPr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r>
              <a:tr h="579098">
                <a:tc>
                  <a:txBody>
                    <a:bodyPr/>
                    <a:lstStyle/>
                    <a:p>
                      <a:pPr marL="574675" algn="l" defTabSz="914400" rtl="0" eaLnBrk="1" latinLnBrk="0" hangingPunct="1">
                        <a:lnSpc>
                          <a:spcPct val="100000"/>
                        </a:lnSpc>
                        <a:spcBef>
                          <a:spcPts val="0"/>
                        </a:spcBef>
                        <a:spcAft>
                          <a:spcPts val="0"/>
                        </a:spcAft>
                        <a:buClrTx/>
                        <a:buSzTx/>
                        <a:buFontTx/>
                        <a:defRPr/>
                      </a:pPr>
                      <a:r>
                        <a:rPr lang="zh-CN" altLang="en-US" sz="1300" b="1" kern="1200" spc="-10" dirty="0">
                          <a:solidFill>
                            <a:schemeClr val="tx1"/>
                          </a:solidFill>
                          <a:latin typeface="微软雅黑" charset="0"/>
                          <a:ea typeface="微软雅黑" charset="0"/>
                          <a:cs typeface="Arial" panose="020B0604020202090204" pitchFamily="34" charset="0"/>
                        </a:rPr>
                        <a:t>选择性激光小梁成形术治疗青光眼专家共识（2016年）</a:t>
                      </a:r>
                      <a:endParaRPr lang="zh-CN" altLang="en-US" sz="1300" b="1" kern="1200" spc="-10" dirty="0">
                        <a:solidFill>
                          <a:schemeClr val="tx1"/>
                        </a:solidFill>
                        <a:latin typeface="微软雅黑" charset="0"/>
                        <a:ea typeface="微软雅黑" charset="0"/>
                        <a:cs typeface="Arial" panose="020B060402020209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cap="flat" cmpd="sng" algn="ctr">
                      <a:solidFill>
                        <a:srgbClr val="E6B8B8"/>
                      </a:solidFill>
                      <a:prstDash val="solid"/>
                      <a:round/>
                      <a:headEnd type="none" w="med" len="med"/>
                      <a:tailEnd type="none" w="med" len="med"/>
                    </a:lnB>
                    <a:solidFill>
                      <a:srgbClr val="F3F3F7"/>
                    </a:solidFill>
                  </a:tcPr>
                </a:tc>
                <a:tc>
                  <a:txBody>
                    <a:bodyPr/>
                    <a:lstStyle/>
                    <a:p>
                      <a:pPr algn="just">
                        <a:lnSpc>
                          <a:spcPct val="150000"/>
                        </a:lnSpc>
                        <a:buNone/>
                      </a:pPr>
                      <a:r>
                        <a:rPr sz="1400" b="0" dirty="0" err="1">
                          <a:solidFill>
                            <a:schemeClr val="accent1">
                              <a:lumMod val="75000"/>
                            </a:schemeClr>
                          </a:solidFill>
                          <a:latin typeface="微软雅黑" charset="0"/>
                          <a:ea typeface="微软雅黑" charset="0"/>
                          <a:cs typeface="微软雅黑" charset="0"/>
                          <a:sym typeface="+mn-ea"/>
                        </a:rPr>
                        <a:t>推荐治疗后</a:t>
                      </a:r>
                      <a:r>
                        <a:rPr sz="1400" b="1" dirty="0" err="1">
                          <a:solidFill>
                            <a:srgbClr val="302E5D"/>
                          </a:solidFill>
                          <a:latin typeface="微软雅黑" charset="0"/>
                          <a:ea typeface="微软雅黑" charset="0"/>
                          <a:cs typeface="微软雅黑" charset="0"/>
                          <a:sym typeface="+mn-ea"/>
                        </a:rPr>
                        <a:t>短期使用非甾体类抗炎药物</a:t>
                      </a:r>
                      <a:r>
                        <a:rPr sz="1400" b="0" dirty="0" err="1">
                          <a:solidFill>
                            <a:schemeClr val="accent1">
                              <a:lumMod val="75000"/>
                            </a:schemeClr>
                          </a:solidFill>
                          <a:latin typeface="微软雅黑" charset="0"/>
                          <a:ea typeface="微软雅黑" charset="0"/>
                          <a:cs typeface="微软雅黑" charset="0"/>
                          <a:sym typeface="+mn-ea"/>
                        </a:rPr>
                        <a:t>点眼</a:t>
                      </a:r>
                      <a:endParaRPr lang="zh-CN" altLang="en-US" sz="1400" b="0" dirty="0">
                        <a:solidFill>
                          <a:srgbClr val="2D343E"/>
                        </a:solidFill>
                        <a:latin typeface="微软雅黑" charset="0"/>
                        <a:ea typeface="微软雅黑" charset="0"/>
                        <a:cs typeface="微软雅黑" charset="0"/>
                        <a:sym typeface="+mn-ea"/>
                      </a:endParaRPr>
                    </a:p>
                  </a:txBody>
                  <a:tcPr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r>
              <a:tr h="579098">
                <a:tc>
                  <a:txBody>
                    <a:bodyPr/>
                    <a:lstStyle/>
                    <a:p>
                      <a:pPr marL="574675" algn="l" defTabSz="914400" rtl="0" eaLnBrk="1" latinLnBrk="0" hangingPunct="1">
                        <a:lnSpc>
                          <a:spcPct val="100000"/>
                        </a:lnSpc>
                        <a:spcBef>
                          <a:spcPts val="0"/>
                        </a:spcBef>
                        <a:spcAft>
                          <a:spcPts val="0"/>
                        </a:spcAft>
                        <a:buClrTx/>
                        <a:buSzTx/>
                        <a:buFontTx/>
                        <a:defRPr/>
                      </a:pPr>
                      <a:r>
                        <a:rPr lang="en-US" altLang="zh-CN" sz="1300" b="1" kern="1200" spc="-10" dirty="0">
                          <a:solidFill>
                            <a:schemeClr val="tx1"/>
                          </a:solidFill>
                          <a:latin typeface="微软雅黑" charset="0"/>
                          <a:ea typeface="微软雅黑" charset="0"/>
                          <a:cs typeface="Arial" panose="020B0604020202090204" pitchFamily="34" charset="0"/>
                        </a:rPr>
                        <a:t>ESCRS Cataract Surgery Recommendations</a:t>
                      </a:r>
                      <a:endParaRPr lang="zh-CN" altLang="en-US" sz="1300" b="1" kern="1200" spc="-10" dirty="0">
                        <a:solidFill>
                          <a:schemeClr val="tx1"/>
                        </a:solidFill>
                        <a:latin typeface="微软雅黑" charset="0"/>
                        <a:ea typeface="微软雅黑" charset="0"/>
                        <a:cs typeface="Arial" panose="020B060402020209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solidFill>
                      <a:srgbClr val="F3F3F7"/>
                    </a:solidFill>
                  </a:tcPr>
                </a:tc>
                <a:tc>
                  <a:txBody>
                    <a:bodyPr/>
                    <a:lstStyle/>
                    <a:p>
                      <a:pPr>
                        <a:lnSpc>
                          <a:spcPct val="150000"/>
                        </a:lnSpc>
                        <a:buNone/>
                      </a:pPr>
                      <a:r>
                        <a:rPr sz="1400" b="0" dirty="0" err="1">
                          <a:solidFill>
                            <a:schemeClr val="accent1">
                              <a:lumMod val="75000"/>
                            </a:schemeClr>
                          </a:solidFill>
                          <a:latin typeface="微软雅黑" charset="0"/>
                          <a:ea typeface="微软雅黑" charset="0"/>
                          <a:cs typeface="微软雅黑" charset="0"/>
                          <a:sym typeface="+mn-ea"/>
                        </a:rPr>
                        <a:t>推荐白内障术后</a:t>
                      </a:r>
                      <a:r>
                        <a:rPr sz="1400" b="1" dirty="0" err="1">
                          <a:solidFill>
                            <a:srgbClr val="302E5D"/>
                          </a:solidFill>
                          <a:latin typeface="微软雅黑" charset="0"/>
                          <a:ea typeface="微软雅黑" charset="0"/>
                          <a:cs typeface="微软雅黑" charset="0"/>
                          <a:sym typeface="+mn-ea"/>
                        </a:rPr>
                        <a:t>NSAIDs滴眼液与糖皮质激素滴眼液</a:t>
                      </a:r>
                      <a:r>
                        <a:rPr sz="1400" b="0" dirty="0" err="1">
                          <a:solidFill>
                            <a:schemeClr val="accent1">
                              <a:lumMod val="75000"/>
                            </a:schemeClr>
                          </a:solidFill>
                          <a:latin typeface="微软雅黑" charset="0"/>
                          <a:ea typeface="微软雅黑" charset="0"/>
                          <a:cs typeface="微软雅黑" charset="0"/>
                          <a:sym typeface="+mn-ea"/>
                        </a:rPr>
                        <a:t>联合使用</a:t>
                      </a:r>
                      <a:r>
                        <a:rPr sz="1400" b="0" dirty="0" err="1">
                          <a:solidFill>
                            <a:srgbClr val="2D343E"/>
                          </a:solidFill>
                          <a:latin typeface="微软雅黑" charset="0"/>
                          <a:ea typeface="微软雅黑" charset="0"/>
                          <a:cs typeface="微软雅黑" charset="0"/>
                          <a:sym typeface="+mn-ea"/>
                        </a:rPr>
                        <a:t>，较单药更有效预防炎症和CME</a:t>
                      </a:r>
                      <a:r>
                        <a:rPr sz="1400" b="0" dirty="0">
                          <a:solidFill>
                            <a:srgbClr val="2D343E"/>
                          </a:solidFill>
                          <a:latin typeface="微软雅黑" charset="0"/>
                          <a:ea typeface="微软雅黑" charset="0"/>
                          <a:cs typeface="微软雅黑" charset="0"/>
                          <a:sym typeface="+mn-ea"/>
                        </a:rPr>
                        <a:t>。</a:t>
                      </a:r>
                      <a:endParaRPr lang="zh-CN" altLang="en-US" sz="1400" b="0" dirty="0">
                        <a:solidFill>
                          <a:srgbClr val="2D343E"/>
                        </a:solidFill>
                        <a:latin typeface="微软雅黑" charset="0"/>
                        <a:ea typeface="微软雅黑" charset="0"/>
                        <a:cs typeface="微软雅黑" charset="0"/>
                        <a:sym typeface="+mn-ea"/>
                      </a:endParaRPr>
                    </a:p>
                  </a:txBody>
                  <a:tcPr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r>
              <a:tr h="768563">
                <a:tc>
                  <a:txBody>
                    <a:bodyPr/>
                    <a:lstStyle/>
                    <a:p>
                      <a:pPr marL="574675" algn="l" defTabSz="914400" rtl="0" eaLnBrk="1" fontAlgn="auto" latinLnBrk="0" hangingPunct="1">
                        <a:lnSpc>
                          <a:spcPct val="100000"/>
                        </a:lnSpc>
                        <a:spcBef>
                          <a:spcPts val="0"/>
                        </a:spcBef>
                        <a:spcAft>
                          <a:spcPts val="0"/>
                        </a:spcAft>
                        <a:buClrTx/>
                        <a:buSzTx/>
                        <a:buFontTx/>
                        <a:buNone/>
                        <a:defRPr/>
                      </a:pPr>
                      <a:r>
                        <a:rPr lang="zh-CN" altLang="en-US" sz="1300" b="1" kern="1200" spc="-10" dirty="0">
                          <a:solidFill>
                            <a:schemeClr val="tx1"/>
                          </a:solidFill>
                          <a:latin typeface="微软雅黑" charset="0"/>
                          <a:ea typeface="微软雅黑" charset="0"/>
                          <a:cs typeface="Arial" panose="020B0604020202090204" pitchFamily="34" charset="0"/>
                        </a:rPr>
                        <a:t>ASCRS Cataract Clinical Committee / AGS报告（JCRS, 2016）</a:t>
                      </a:r>
                      <a:endParaRPr lang="zh-CN" altLang="en-US" sz="1300" b="1" kern="1200" spc="-10" dirty="0">
                        <a:solidFill>
                          <a:schemeClr val="tx1"/>
                        </a:solidFill>
                        <a:latin typeface="微软雅黑" charset="0"/>
                        <a:ea typeface="微软雅黑" charset="0"/>
                        <a:cs typeface="Arial" panose="020B0604020202090204" pitchFamily="34" charset="0"/>
                      </a:endParaRPr>
                    </a:p>
                  </a:txBody>
                  <a:tcPr marR="4572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solidFill>
                      <a:srgbClr val="F3F3F7"/>
                    </a:solidFill>
                  </a:tcPr>
                </a:tc>
                <a:tc>
                  <a:txBody>
                    <a:bodyPr/>
                    <a:lstStyle/>
                    <a:p>
                      <a:pPr>
                        <a:lnSpc>
                          <a:spcPct val="150000"/>
                        </a:lnSpc>
                        <a:buNone/>
                      </a:pPr>
                      <a:r>
                        <a:rPr sz="1400" b="0" dirty="0" err="1">
                          <a:solidFill>
                            <a:schemeClr val="accent1">
                              <a:lumMod val="75000"/>
                            </a:schemeClr>
                          </a:solidFill>
                          <a:latin typeface="微软雅黑" charset="0"/>
                          <a:ea typeface="微软雅黑" charset="0"/>
                          <a:cs typeface="微软雅黑" charset="0"/>
                          <a:sym typeface="+mn-ea"/>
                        </a:rPr>
                        <a:t>指出NSAIDs可减轻疼痛、</a:t>
                      </a:r>
                      <a:r>
                        <a:rPr sz="1400" b="1" dirty="0" err="1">
                          <a:solidFill>
                            <a:srgbClr val="302E5D"/>
                          </a:solidFill>
                          <a:latin typeface="微软雅黑" charset="0"/>
                          <a:ea typeface="微软雅黑" charset="0"/>
                          <a:cs typeface="微软雅黑" charset="0"/>
                          <a:sym typeface="+mn-ea"/>
                        </a:rPr>
                        <a:t>预防术中缩瞳、调节术后炎症并降低CME风险</a:t>
                      </a:r>
                      <a:endParaRPr lang="zh-CN" altLang="en-US" sz="1400" b="1" dirty="0">
                        <a:solidFill>
                          <a:srgbClr val="302E5D"/>
                        </a:solidFill>
                        <a:latin typeface="微软雅黑" charset="0"/>
                        <a:ea typeface="微软雅黑" charset="0"/>
                        <a:cs typeface="微软雅黑" charset="0"/>
                        <a:sym typeface="+mn-ea"/>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r>
            </a:tbl>
          </a:graphicData>
        </a:graphic>
      </p:graphicFrame>
      <p:grpSp>
        <p:nvGrpSpPr>
          <p:cNvPr id="4" name="组合 3"/>
          <p:cNvGrpSpPr/>
          <p:nvPr/>
        </p:nvGrpSpPr>
        <p:grpSpPr>
          <a:xfrm>
            <a:off x="712153" y="957234"/>
            <a:ext cx="7863840" cy="532292"/>
            <a:chOff x="712470" y="1332230"/>
            <a:chExt cx="7863840" cy="433705"/>
          </a:xfrm>
        </p:grpSpPr>
        <p:sp>
          <p:nvSpPr>
            <p:cNvPr id="75" name="object 5"/>
            <p:cNvSpPr/>
            <p:nvPr/>
          </p:nvSpPr>
          <p:spPr>
            <a:xfrm>
              <a:off x="712470" y="1332230"/>
              <a:ext cx="7769860" cy="433705"/>
            </a:xfrm>
            <a:custGeom>
              <a:avLst/>
              <a:gdLst/>
              <a:ahLst/>
              <a:cxnLst/>
              <a:rect l="l" t="t" r="r" b="b"/>
              <a:pathLst>
                <a:path w="7322820" h="530860">
                  <a:moveTo>
                    <a:pt x="7059167" y="530352"/>
                  </a:moveTo>
                  <a:lnTo>
                    <a:pt x="0" y="530352"/>
                  </a:lnTo>
                  <a:lnTo>
                    <a:pt x="0" y="0"/>
                  </a:lnTo>
                  <a:lnTo>
                    <a:pt x="7059167" y="0"/>
                  </a:lnTo>
                  <a:lnTo>
                    <a:pt x="7322820" y="265176"/>
                  </a:lnTo>
                  <a:lnTo>
                    <a:pt x="7059167" y="530352"/>
                  </a:lnTo>
                  <a:close/>
                </a:path>
              </a:pathLst>
            </a:custGeom>
            <a:gradFill flip="none" rotWithShape="1">
              <a:gsLst>
                <a:gs pos="0">
                  <a:schemeClr val="accent1"/>
                </a:gs>
                <a:gs pos="54000">
                  <a:srgbClr val="456D8D"/>
                </a:gs>
                <a:gs pos="100000">
                  <a:schemeClr val="accent3"/>
                </a:gs>
              </a:gsLst>
              <a:lin ang="0" scaled="1"/>
              <a:tileRect/>
            </a:gradFill>
            <a:effectLst>
              <a:outerShdw blurRad="50800" dist="38100" dir="2700000" algn="tl" rotWithShape="0">
                <a:prstClr val="black">
                  <a:alpha val="40000"/>
                </a:prst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1200" cap="none" spc="0" normalizeH="0" baseline="0" noProof="0">
                <a:ln>
                  <a:noFill/>
                </a:ln>
                <a:solidFill>
                  <a:srgbClr val="2B3A42"/>
                </a:solidFill>
                <a:effectLst/>
                <a:uLnTx/>
                <a:uFillTx/>
                <a:latin typeface="微软雅黑" charset="0"/>
                <a:ea typeface="微软雅黑" charset="0"/>
                <a:cs typeface="+mn-cs"/>
              </a:endParaRPr>
            </a:p>
          </p:txBody>
        </p:sp>
        <p:sp>
          <p:nvSpPr>
            <p:cNvPr id="76" name="object 6"/>
            <p:cNvSpPr txBox="1"/>
            <p:nvPr/>
          </p:nvSpPr>
          <p:spPr>
            <a:xfrm>
              <a:off x="805815" y="1428821"/>
              <a:ext cx="7770495" cy="290195"/>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defRPr/>
              </a:pPr>
              <a:r>
                <a:rPr kumimoji="0" lang="zh-CN" altLang="en-US" b="1" i="0" u="none" strike="noStrike" kern="1200" cap="none" spc="-10" normalizeH="0" baseline="0" noProof="0" dirty="0">
                  <a:ln>
                    <a:noFill/>
                  </a:ln>
                  <a:solidFill>
                    <a:srgbClr val="FFFFFF"/>
                  </a:solidFill>
                  <a:effectLst/>
                  <a:uLnTx/>
                  <a:uFillTx/>
                  <a:latin typeface="微软雅黑" charset="0"/>
                  <a:ea typeface="微软雅黑" charset="0"/>
                  <a:cs typeface="微软雅黑" charset="0"/>
                </a:rPr>
                <a:t>全球多个权威临床诊疗指南推荐</a:t>
              </a:r>
              <a:r>
                <a:rPr kumimoji="0" lang="en-US" altLang="zh-CN" b="1" i="0" u="none" strike="noStrike" kern="1200" cap="none" spc="-10" normalizeH="0" baseline="0" noProof="0" dirty="0">
                  <a:ln>
                    <a:noFill/>
                  </a:ln>
                  <a:solidFill>
                    <a:srgbClr val="FFFFFF"/>
                  </a:solidFill>
                  <a:effectLst/>
                  <a:uLnTx/>
                  <a:uFillTx/>
                  <a:latin typeface="微软雅黑" charset="0"/>
                  <a:ea typeface="微软雅黑" charset="0"/>
                  <a:cs typeface="微软雅黑" charset="0"/>
                </a:rPr>
                <a:t>NSAIDs</a:t>
              </a:r>
              <a:r>
                <a:rPr kumimoji="0" lang="zh-CN" altLang="en-US" b="1" i="0" u="none" strike="noStrike" kern="1200" cap="none" spc="-10" normalizeH="0" baseline="0" noProof="0" dirty="0">
                  <a:ln>
                    <a:noFill/>
                  </a:ln>
                  <a:solidFill>
                    <a:srgbClr val="FFFFFF"/>
                  </a:solidFill>
                  <a:effectLst/>
                  <a:uLnTx/>
                  <a:uFillTx/>
                  <a:latin typeface="微软雅黑" charset="0"/>
                  <a:ea typeface="微软雅黑" charset="0"/>
                  <a:cs typeface="微软雅黑" charset="0"/>
                </a:rPr>
                <a:t>药物用于手术期患者的缩瞳抗炎</a:t>
              </a:r>
              <a:endParaRPr kumimoji="0" lang="zh-CN" altLang="en-US" b="1" i="0" u="none" strike="noStrike" kern="1200" cap="none" spc="-10" normalizeH="0" baseline="0" noProof="0" dirty="0">
                <a:ln>
                  <a:noFill/>
                </a:ln>
                <a:solidFill>
                  <a:srgbClr val="FFFFFF"/>
                </a:solidFill>
                <a:effectLst/>
                <a:uLnTx/>
                <a:uFillTx/>
                <a:latin typeface="微软雅黑" charset="0"/>
                <a:ea typeface="微软雅黑" charset="0"/>
                <a:cs typeface="微软雅黑" charset="0"/>
              </a:endParaRPr>
            </a:p>
          </p:txBody>
        </p:sp>
      </p:grpSp>
      <p:pic>
        <p:nvPicPr>
          <p:cNvPr id="62" name="object 23"/>
          <p:cNvPicPr/>
          <p:nvPr/>
        </p:nvPicPr>
        <p:blipFill>
          <a:blip r:embed="rId4" cstate="print"/>
          <a:stretch>
            <a:fillRect/>
          </a:stretch>
        </p:blipFill>
        <p:spPr>
          <a:xfrm>
            <a:off x="786437" y="2190196"/>
            <a:ext cx="461313" cy="454802"/>
          </a:xfrm>
          <a:prstGeom prst="rect">
            <a:avLst/>
          </a:prstGeom>
        </p:spPr>
      </p:pic>
      <p:pic>
        <p:nvPicPr>
          <p:cNvPr id="63" name="object 23"/>
          <p:cNvPicPr/>
          <p:nvPr/>
        </p:nvPicPr>
        <p:blipFill>
          <a:blip r:embed="rId4" cstate="print"/>
          <a:stretch>
            <a:fillRect/>
          </a:stretch>
        </p:blipFill>
        <p:spPr>
          <a:xfrm>
            <a:off x="786437" y="3228711"/>
            <a:ext cx="461313" cy="454802"/>
          </a:xfrm>
          <a:prstGeom prst="rect">
            <a:avLst/>
          </a:prstGeom>
        </p:spPr>
      </p:pic>
      <p:pic>
        <p:nvPicPr>
          <p:cNvPr id="64" name="object 12"/>
          <p:cNvPicPr/>
          <p:nvPr/>
        </p:nvPicPr>
        <p:blipFill>
          <a:blip r:embed="rId5" cstate="print"/>
          <a:stretch>
            <a:fillRect/>
          </a:stretch>
        </p:blipFill>
        <p:spPr>
          <a:xfrm>
            <a:off x="835951" y="5619490"/>
            <a:ext cx="362285" cy="340451"/>
          </a:xfrm>
          <a:prstGeom prst="rect">
            <a:avLst/>
          </a:prstGeom>
          <a:effectLst>
            <a:outerShdw blurRad="50800" dist="38100" dir="2700000" algn="tl" rotWithShape="0">
              <a:prstClr val="black">
                <a:alpha val="40000"/>
              </a:prstClr>
            </a:outerShdw>
          </a:effectLst>
        </p:spPr>
      </p:pic>
      <p:sp>
        <p:nvSpPr>
          <p:cNvPr id="5"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solidFill>
                  <a:srgbClr val="FFFFFF"/>
                </a:solidFill>
                <a:effectLst/>
                <a:uLnTx/>
                <a:uFillTx/>
                <a:latin typeface="微软雅黑" charset="0"/>
                <a:ea typeface="微软雅黑" charset="0"/>
                <a:cs typeface="+mn-cs"/>
              </a:rPr>
              <a:t>7</a:t>
            </a:r>
            <a:endParaRPr kumimoji="0" lang="en-US" sz="1000" b="1" i="0" u="none" strike="noStrike" kern="1200" cap="none" spc="0" normalizeH="0" baseline="0" noProof="0">
              <a:ln>
                <a:noFill/>
              </a:ln>
              <a:solidFill>
                <a:srgbClr val="FFFFFF"/>
              </a:solidFill>
              <a:effectLst/>
              <a:uLnTx/>
              <a:uFillTx/>
              <a:latin typeface="微软雅黑" charset="0"/>
              <a:ea typeface="微软雅黑" charset="0"/>
              <a:cs typeface="+mn-cs"/>
            </a:endParaRPr>
          </a:p>
        </p:txBody>
      </p:sp>
      <p:sp>
        <p:nvSpPr>
          <p:cNvPr id="6" name="Rectangle: Top Corners Rounded 4"/>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基本信息</a:t>
            </a:r>
            <a:endParaRPr lang="zh-CN" altLang="en-US" sz="1400" b="1" err="1">
              <a:latin typeface="微软雅黑" charset="0"/>
              <a:ea typeface="微软雅黑" charset="0"/>
            </a:endParaRPr>
          </a:p>
        </p:txBody>
      </p:sp>
      <p:sp>
        <p:nvSpPr>
          <p:cNvPr id="8" name="Rectangle: Top Corners Rounded 7"/>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创新性</a:t>
            </a:r>
            <a:endParaRPr lang="zh-CN" altLang="en-US" sz="1400" b="1" err="1">
              <a:latin typeface="微软雅黑" charset="0"/>
              <a:ea typeface="微软雅黑" charset="0"/>
            </a:endParaRPr>
          </a:p>
        </p:txBody>
      </p:sp>
      <p:sp>
        <p:nvSpPr>
          <p:cNvPr id="9" name="Rectangle: Top Corners Rounded 8"/>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公平性</a:t>
            </a:r>
            <a:endParaRPr lang="zh-CN" altLang="en-US" sz="1400" b="1" err="1">
              <a:latin typeface="微软雅黑" charset="0"/>
              <a:ea typeface="微软雅黑" charset="0"/>
            </a:endParaRPr>
          </a:p>
        </p:txBody>
      </p:sp>
      <p:sp>
        <p:nvSpPr>
          <p:cNvPr id="14"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安全性</a:t>
            </a:r>
            <a:endParaRPr lang="zh-CN" altLang="en-US" sz="1400" b="1">
              <a:latin typeface="微软雅黑" charset="0"/>
              <a:ea typeface="微软雅黑" charset="0"/>
            </a:endParaRPr>
          </a:p>
        </p:txBody>
      </p:sp>
      <p:sp>
        <p:nvSpPr>
          <p:cNvPr id="15" name="Rectangle: Top Corners Rounded 40"/>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微软雅黑" charset="0"/>
                <a:ea typeface="微软雅黑" charset="0"/>
              </a:rPr>
              <a:t>有效性</a:t>
            </a:r>
            <a:endParaRPr lang="zh-CN" altLang="en-US" sz="1400" b="1">
              <a:latin typeface="微软雅黑" charset="0"/>
              <a:ea typeface="微软雅黑" charset="0"/>
            </a:endParaRPr>
          </a:p>
        </p:txBody>
      </p:sp>
      <p:pic>
        <p:nvPicPr>
          <p:cNvPr id="7" name="object 23"/>
          <p:cNvPicPr/>
          <p:nvPr/>
        </p:nvPicPr>
        <p:blipFill>
          <a:blip r:embed="rId4" cstate="print"/>
          <a:stretch>
            <a:fillRect/>
          </a:stretch>
        </p:blipFill>
        <p:spPr>
          <a:xfrm>
            <a:off x="786437" y="4096173"/>
            <a:ext cx="461313" cy="454802"/>
          </a:xfrm>
          <a:prstGeom prst="rect">
            <a:avLst/>
          </a:prstGeom>
        </p:spPr>
      </p:pic>
      <p:sp>
        <p:nvSpPr>
          <p:cNvPr id="11" name="文本框 10"/>
          <p:cNvSpPr txBox="1"/>
          <p:nvPr/>
        </p:nvSpPr>
        <p:spPr>
          <a:xfrm>
            <a:off x="554990" y="6113780"/>
            <a:ext cx="11388090" cy="506730"/>
          </a:xfrm>
          <a:prstGeom prst="rect">
            <a:avLst/>
          </a:prstGeom>
          <a:noFill/>
        </p:spPr>
        <p:txBody>
          <a:bodyPr wrap="square" rtlCol="0">
            <a:spAutoFit/>
          </a:bodyPr>
          <a:lstStyle/>
          <a:p>
            <a:r>
              <a:rPr lang="zh-CN" altLang="en-US" sz="900" dirty="0">
                <a:latin typeface="微软雅黑" charset="0"/>
                <a:ea typeface="微软雅黑" charset="0"/>
                <a:cs typeface="微软雅黑" charset="0"/>
              </a:rPr>
              <a:t>【</a:t>
            </a:r>
            <a:r>
              <a:rPr lang="en-US" altLang="zh-CN" sz="900" dirty="0">
                <a:latin typeface="微软雅黑" charset="0"/>
                <a:ea typeface="微软雅黑" charset="0"/>
                <a:cs typeface="微软雅黑" charset="0"/>
              </a:rPr>
              <a:t>1</a:t>
            </a:r>
            <a:r>
              <a:rPr lang="zh-CN" altLang="en-US" sz="900" dirty="0">
                <a:latin typeface="微软雅黑" charset="0"/>
                <a:ea typeface="微软雅黑" charset="0"/>
                <a:cs typeface="微软雅黑" charset="0"/>
              </a:rPr>
              <a:t>】</a:t>
            </a:r>
            <a:r>
              <a:rPr sz="900" dirty="0">
                <a:latin typeface="微软雅黑" charset="0"/>
                <a:ea typeface="微软雅黑" charset="0"/>
                <a:cs typeface="微软雅黑" charset="0"/>
                <a:sym typeface="苹方-简" panose="020B0400000000000000" charset="-122"/>
              </a:rPr>
              <a:t>白内障围手术期非感染性炎症防治专家共识（2015年）</a:t>
            </a:r>
            <a:r>
              <a:rPr lang="en-US" sz="900" dirty="0">
                <a:latin typeface="微软雅黑" charset="0"/>
                <a:ea typeface="微软雅黑" charset="0"/>
                <a:cs typeface="微软雅黑" charset="0"/>
                <a:sym typeface="苹方-简" panose="020B0400000000000000" charset="-122"/>
              </a:rPr>
              <a:t>          </a:t>
            </a:r>
            <a:r>
              <a:rPr lang="zh-CN" altLang="en-US" sz="900" dirty="0">
                <a:latin typeface="微软雅黑" charset="0"/>
                <a:ea typeface="微软雅黑" charset="0"/>
                <a:cs typeface="微软雅黑" charset="0"/>
                <a:sym typeface="苹方-简" panose="020B0400000000000000" charset="-122"/>
              </a:rPr>
              <a:t>【</a:t>
            </a:r>
            <a:r>
              <a:rPr lang="en-US" altLang="zh-CN" sz="900" dirty="0">
                <a:latin typeface="微软雅黑" charset="0"/>
                <a:ea typeface="微软雅黑" charset="0"/>
                <a:cs typeface="微软雅黑" charset="0"/>
                <a:sym typeface="苹方-简" panose="020B0400000000000000" charset="-122"/>
              </a:rPr>
              <a:t>4</a:t>
            </a:r>
            <a:r>
              <a:rPr lang="zh-CN" altLang="en-US" sz="900" dirty="0">
                <a:latin typeface="微软雅黑" charset="0"/>
                <a:ea typeface="微软雅黑" charset="0"/>
                <a:cs typeface="微软雅黑" charset="0"/>
                <a:sym typeface="苹方-简" panose="020B0400000000000000" charset="-122"/>
              </a:rPr>
              <a:t>】</a:t>
            </a:r>
            <a:r>
              <a:rPr sz="900" dirty="0">
                <a:latin typeface="微软雅黑" charset="0"/>
                <a:ea typeface="微软雅黑" charset="0"/>
                <a:cs typeface="微软雅黑" charset="0"/>
                <a:sym typeface="苹方-简" panose="020B0400000000000000" charset="-122"/>
              </a:rPr>
              <a:t>ESCRS Cataract Surgery Recommendations</a:t>
            </a:r>
            <a:endParaRPr sz="900" dirty="0">
              <a:latin typeface="微软雅黑" charset="0"/>
              <a:ea typeface="微软雅黑" charset="0"/>
              <a:cs typeface="微软雅黑" charset="0"/>
              <a:sym typeface="苹方-简" panose="020B0400000000000000" charset="-122"/>
            </a:endParaRPr>
          </a:p>
          <a:p>
            <a:r>
              <a:rPr lang="zh-CN" altLang="en-US" sz="900" dirty="0">
                <a:latin typeface="微软雅黑" charset="0"/>
                <a:ea typeface="微软雅黑" charset="0"/>
                <a:cs typeface="微软雅黑" charset="0"/>
              </a:rPr>
              <a:t>【</a:t>
            </a:r>
            <a:r>
              <a:rPr lang="en-US" altLang="zh-CN" sz="900" dirty="0">
                <a:latin typeface="微软雅黑" charset="0"/>
                <a:ea typeface="微软雅黑" charset="0"/>
                <a:cs typeface="微软雅黑" charset="0"/>
              </a:rPr>
              <a:t>2</a:t>
            </a:r>
            <a:r>
              <a:rPr lang="zh-CN" altLang="en-US" sz="900" dirty="0">
                <a:latin typeface="微软雅黑" charset="0"/>
                <a:ea typeface="微软雅黑" charset="0"/>
                <a:cs typeface="微软雅黑" charset="0"/>
              </a:rPr>
              <a:t>】</a:t>
            </a:r>
            <a:r>
              <a:rPr sz="900" dirty="0">
                <a:latin typeface="微软雅黑" charset="0"/>
                <a:ea typeface="微软雅黑" charset="0"/>
                <a:cs typeface="微软雅黑" charset="0"/>
                <a:sym typeface="苹方-简" panose="020B0400000000000000" charset="-122"/>
              </a:rPr>
              <a:t>成人白内障手术操作规范（2026年版）</a:t>
            </a:r>
            <a:endParaRPr sz="900" dirty="0">
              <a:latin typeface="微软雅黑" charset="0"/>
              <a:ea typeface="微软雅黑" charset="0"/>
              <a:cs typeface="微软雅黑" charset="0"/>
              <a:sym typeface="苹方-简" panose="020B0400000000000000" charset="-122"/>
            </a:endParaRPr>
          </a:p>
          <a:p>
            <a:r>
              <a:rPr lang="zh-CN" altLang="en-US" sz="900" dirty="0">
                <a:latin typeface="微软雅黑" charset="0"/>
                <a:ea typeface="微软雅黑" charset="0"/>
                <a:cs typeface="微软雅黑" charset="0"/>
              </a:rPr>
              <a:t>【</a:t>
            </a:r>
            <a:r>
              <a:rPr lang="en-US" altLang="zh-CN" sz="900" dirty="0">
                <a:latin typeface="微软雅黑" charset="0"/>
                <a:ea typeface="微软雅黑" charset="0"/>
                <a:cs typeface="微软雅黑" charset="0"/>
              </a:rPr>
              <a:t>3</a:t>
            </a:r>
            <a:r>
              <a:rPr lang="zh-CN" altLang="en-US" sz="900" dirty="0">
                <a:latin typeface="微软雅黑" charset="0"/>
                <a:ea typeface="微软雅黑" charset="0"/>
                <a:cs typeface="微软雅黑" charset="0"/>
              </a:rPr>
              <a:t>】</a:t>
            </a:r>
            <a:r>
              <a:rPr sz="900" dirty="0">
                <a:latin typeface="微软雅黑" charset="0"/>
                <a:ea typeface="微软雅黑" charset="0"/>
                <a:cs typeface="微软雅黑" charset="0"/>
                <a:sym typeface="苹方-简" panose="020B0400000000000000" charset="-122"/>
              </a:rPr>
              <a:t>选择性激光小梁成形术治疗青光眼专家共识（2016年）</a:t>
            </a:r>
            <a:r>
              <a:rPr lang="en-US" sz="900" dirty="0">
                <a:latin typeface="微软雅黑" charset="0"/>
                <a:ea typeface="微软雅黑" charset="0"/>
                <a:cs typeface="微软雅黑" charset="0"/>
                <a:sym typeface="苹方-简" panose="020B0400000000000000" charset="-122"/>
              </a:rPr>
              <a:t>          </a:t>
            </a:r>
            <a:r>
              <a:rPr lang="zh-CN" altLang="en-US" sz="900" dirty="0">
                <a:latin typeface="微软雅黑" charset="0"/>
                <a:ea typeface="微软雅黑" charset="0"/>
                <a:cs typeface="微软雅黑" charset="0"/>
                <a:sym typeface="苹方-简" panose="020B0400000000000000" charset="-122"/>
              </a:rPr>
              <a:t>【</a:t>
            </a:r>
            <a:r>
              <a:rPr lang="en-US" altLang="zh-CN" sz="900" dirty="0">
                <a:latin typeface="微软雅黑" charset="0"/>
                <a:ea typeface="微软雅黑" charset="0"/>
                <a:cs typeface="微软雅黑" charset="0"/>
                <a:sym typeface="苹方-简" panose="020B0400000000000000" charset="-122"/>
              </a:rPr>
              <a:t>5</a:t>
            </a:r>
            <a:r>
              <a:rPr lang="zh-CN" altLang="en-US" sz="900" dirty="0">
                <a:latin typeface="微软雅黑" charset="0"/>
                <a:ea typeface="微软雅黑" charset="0"/>
                <a:cs typeface="微软雅黑" charset="0"/>
                <a:sym typeface="苹方-简" panose="020B0400000000000000" charset="-122"/>
              </a:rPr>
              <a:t>】</a:t>
            </a:r>
            <a:r>
              <a:rPr sz="900" dirty="0">
                <a:latin typeface="微软雅黑" charset="0"/>
                <a:ea typeface="微软雅黑" charset="0"/>
                <a:cs typeface="微软雅黑" charset="0"/>
                <a:sym typeface="苹方-简" panose="020B0400000000000000" charset="-122"/>
              </a:rPr>
              <a:t>ASCRS Cataract Clinical Committee / </a:t>
            </a:r>
            <a:r>
              <a:rPr sz="900" dirty="0" err="1">
                <a:latin typeface="微软雅黑" charset="0"/>
                <a:ea typeface="微软雅黑" charset="0"/>
                <a:cs typeface="微软雅黑" charset="0"/>
                <a:sym typeface="苹方-简" panose="020B0400000000000000" charset="-122"/>
              </a:rPr>
              <a:t>AGS报告（JCRS</a:t>
            </a:r>
            <a:r>
              <a:rPr sz="900" dirty="0">
                <a:latin typeface="微软雅黑" charset="0"/>
                <a:ea typeface="微软雅黑" charset="0"/>
                <a:cs typeface="微软雅黑" charset="0"/>
                <a:sym typeface="苹方-简" panose="020B0400000000000000" charset="-122"/>
              </a:rPr>
              <a:t>, 2016）</a:t>
            </a:r>
            <a:endParaRPr lang="zh-CN" altLang="en-US" sz="900" dirty="0">
              <a:latin typeface="微软雅黑" charset="0"/>
              <a:ea typeface="微软雅黑" charset="0"/>
              <a:cs typeface="微软雅黑" charset="0"/>
              <a:sym typeface="苹方-简" panose="020B0400000000000000" charset="-122"/>
            </a:endParaRPr>
          </a:p>
        </p:txBody>
      </p:sp>
      <p:pic>
        <p:nvPicPr>
          <p:cNvPr id="10" name="图片 9"/>
          <p:cNvPicPr>
            <a:picLocks noChangeAspect="1"/>
          </p:cNvPicPr>
          <p:nvPr/>
        </p:nvPicPr>
        <p:blipFill>
          <a:blip r:embed="rId6"/>
          <a:stretch>
            <a:fillRect/>
          </a:stretch>
        </p:blipFill>
        <p:spPr>
          <a:xfrm>
            <a:off x="786298" y="4794169"/>
            <a:ext cx="461590" cy="454802"/>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722999" y="545706"/>
            <a:ext cx="10797657" cy="494203"/>
          </a:xfrm>
        </p:spPr>
        <p:txBody>
          <a:bodyPr vert="horz"/>
          <a:lstStyle/>
          <a:p>
            <a:r>
              <a:rPr kumimoji="1" lang="en-US" altLang="zh-CN" sz="2400" dirty="0" err="1">
                <a:latin typeface="微软雅黑" charset="0"/>
                <a:ea typeface="微软雅黑" charset="0"/>
                <a:cs typeface="思源黑体 CN Bold" panose="020B0800000000000000" pitchFamily="34" charset="-122"/>
                <a:sym typeface="+mn-ea"/>
              </a:rPr>
              <a:t>氟比洛芬钠滴眼液</a:t>
            </a:r>
            <a:r>
              <a:rPr kumimoji="1" lang="zh-CN" altLang="en-US" sz="2400" dirty="0">
                <a:latin typeface="微软雅黑" charset="0"/>
                <a:ea typeface="微软雅黑" charset="0"/>
              </a:rPr>
              <a:t>是</a:t>
            </a:r>
            <a:r>
              <a:rPr kumimoji="1" lang="zh-CN" altLang="en-US" sz="2400" dirty="0">
                <a:latin typeface="微软雅黑" charset="0"/>
                <a:ea typeface="微软雅黑" charset="0"/>
                <a:sym typeface="+mn-ea"/>
              </a:rPr>
              <a:t>国内</a:t>
            </a:r>
            <a:r>
              <a:rPr kumimoji="1" lang="zh-CN" altLang="en-US" sz="2400" dirty="0">
                <a:solidFill>
                  <a:srgbClr val="C00000"/>
                </a:solidFill>
                <a:latin typeface="微软雅黑" charset="0"/>
                <a:ea typeface="微软雅黑" charset="0"/>
                <a:sym typeface="+mn-ea"/>
              </a:rPr>
              <a:t>唯一获批</a:t>
            </a:r>
            <a:r>
              <a:rPr kumimoji="1" lang="zh-CN" altLang="en-US" sz="2400" dirty="0">
                <a:latin typeface="微软雅黑" charset="0"/>
                <a:ea typeface="微软雅黑" charset="0"/>
                <a:sym typeface="+mn-ea"/>
              </a:rPr>
              <a:t>围术期一站式稳瞳抗炎</a:t>
            </a:r>
            <a:r>
              <a:rPr kumimoji="1" lang="zh-CN" altLang="en-US" sz="2400" dirty="0">
                <a:solidFill>
                  <a:srgbClr val="C00000"/>
                </a:solidFill>
                <a:latin typeface="微软雅黑" charset="0"/>
                <a:ea typeface="微软雅黑" charset="0"/>
                <a:sym typeface="+mn-ea"/>
              </a:rPr>
              <a:t>双适应症</a:t>
            </a:r>
            <a:r>
              <a:rPr kumimoji="1" lang="zh-CN" altLang="en-US" sz="2400" dirty="0">
                <a:latin typeface="微软雅黑" charset="0"/>
                <a:ea typeface="微软雅黑" charset="0"/>
                <a:sym typeface="+mn-ea"/>
              </a:rPr>
              <a:t>的非甾体滴眼液；单剂量包装实现短程精准用药；不含防腐剂减少眼表刺激</a:t>
            </a:r>
            <a:endParaRPr lang="en-US" sz="2400" dirty="0">
              <a:latin typeface="+mn-lt"/>
              <a:ea typeface="+mn-ea"/>
            </a:endParaRPr>
          </a:p>
        </p:txBody>
      </p:sp>
      <p:sp>
        <p:nvSpPr>
          <p:cNvPr id="4" name="Rectangle 25"/>
          <p:cNvSpPr/>
          <p:nvPr/>
        </p:nvSpPr>
        <p:spPr>
          <a:xfrm>
            <a:off x="719353" y="1470212"/>
            <a:ext cx="5537587" cy="4761912"/>
          </a:xfrm>
          <a:prstGeom prst="homePlate">
            <a:avLst>
              <a:gd name="adj" fmla="val 7359"/>
            </a:avLst>
          </a:prstGeom>
          <a:no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white"/>
              </a:solidFill>
              <a:effectLst/>
              <a:uLnTx/>
              <a:uFillTx/>
              <a:latin typeface="Arial" panose="020B0604020202090204"/>
              <a:ea typeface="STZhongsong"/>
              <a:cs typeface="+mn-cs"/>
            </a:endParaRPr>
          </a:p>
        </p:txBody>
      </p:sp>
      <p:sp>
        <p:nvSpPr>
          <p:cNvPr id="5" name="Rectangle 25"/>
          <p:cNvSpPr/>
          <p:nvPr/>
        </p:nvSpPr>
        <p:spPr>
          <a:xfrm flipH="1">
            <a:off x="6264195" y="1470211"/>
            <a:ext cx="5327939" cy="4761913"/>
          </a:xfrm>
          <a:prstGeom prst="homePlate">
            <a:avLst>
              <a:gd name="adj" fmla="val 7359"/>
            </a:avLst>
          </a:prstGeom>
          <a:no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white"/>
              </a:solidFill>
              <a:effectLst/>
              <a:uLnTx/>
              <a:uFillTx/>
              <a:latin typeface="Arial" panose="020B0604020202090204"/>
              <a:ea typeface="STZhongsong"/>
              <a:cs typeface="+mn-cs"/>
            </a:endParaRPr>
          </a:p>
        </p:txBody>
      </p:sp>
      <p:sp>
        <p:nvSpPr>
          <p:cNvPr id="14" name="Oval 12"/>
          <p:cNvSpPr/>
          <p:nvPr/>
        </p:nvSpPr>
        <p:spPr>
          <a:xfrm rot="5400000">
            <a:off x="5683920" y="3225864"/>
            <a:ext cx="1037987" cy="1037987"/>
          </a:xfrm>
          <a:prstGeom prst="ellipse">
            <a:avLst/>
          </a:prstGeom>
          <a:solidFill>
            <a:schemeClr val="bg1"/>
          </a:solidFill>
          <a:ln w="38100">
            <a:solidFill>
              <a:srgbClr val="4A45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300"/>
              </a:spcAft>
              <a:buClrTx/>
              <a:buSzTx/>
              <a:buFontTx/>
              <a:buNone/>
              <a:defRPr/>
            </a:pPr>
            <a:endParaRPr kumimoji="0" lang="en-US" sz="1200" b="0" i="0" u="none" strike="noStrike" kern="1200" cap="none" spc="0" normalizeH="0" baseline="0" noProof="0">
              <a:ln>
                <a:noFill/>
              </a:ln>
              <a:solidFill>
                <a:srgbClr val="2B3A42"/>
              </a:solidFill>
              <a:effectLst/>
              <a:uLnTx/>
              <a:uFillTx/>
              <a:latin typeface="Arial" panose="020B0604020202090204"/>
              <a:ea typeface="STZhongsong"/>
              <a:cs typeface="+mn-cs"/>
            </a:endParaRPr>
          </a:p>
        </p:txBody>
      </p:sp>
      <p:grpSp>
        <p:nvGrpSpPr>
          <p:cNvPr id="83" name="Group 24"/>
          <p:cNvGrpSpPr/>
          <p:nvPr/>
        </p:nvGrpSpPr>
        <p:grpSpPr>
          <a:xfrm>
            <a:off x="2110038" y="1188792"/>
            <a:ext cx="2756216" cy="508470"/>
            <a:chOff x="1978060" y="1233617"/>
            <a:chExt cx="2756216" cy="508470"/>
          </a:xfrm>
        </p:grpSpPr>
        <p:sp>
          <p:nvSpPr>
            <p:cNvPr id="84" name="Rectangle: Top Corners Rounded 7"/>
            <p:cNvSpPr/>
            <p:nvPr/>
          </p:nvSpPr>
          <p:spPr>
            <a:xfrm>
              <a:off x="1978060" y="1247884"/>
              <a:ext cx="2756216" cy="494203"/>
            </a:xfrm>
            <a:prstGeom prst="round2SameRect">
              <a:avLst/>
            </a:prstGeom>
            <a:solidFill>
              <a:schemeClr val="accent1"/>
            </a:solidFill>
            <a:ln w="12700" cap="flat" cmpd="sng" algn="ctr">
              <a:solidFill>
                <a:schemeClr val="bg1"/>
              </a:solid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药品机制创新</a:t>
              </a:r>
              <a:endPar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85" name="Graphic 20" descr="Puzzle pieces with solid fill"/>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14416" y="1233617"/>
              <a:ext cx="508469" cy="508469"/>
            </a:xfrm>
            <a:prstGeom prst="rect">
              <a:avLst/>
            </a:prstGeom>
          </p:spPr>
        </p:pic>
      </p:grpSp>
      <p:grpSp>
        <p:nvGrpSpPr>
          <p:cNvPr id="86" name="Group 38"/>
          <p:cNvGrpSpPr/>
          <p:nvPr/>
        </p:nvGrpSpPr>
        <p:grpSpPr>
          <a:xfrm>
            <a:off x="7550058" y="1203058"/>
            <a:ext cx="2756216" cy="507562"/>
            <a:chOff x="7418080" y="1247883"/>
            <a:chExt cx="2756216" cy="507562"/>
          </a:xfrm>
        </p:grpSpPr>
        <p:sp>
          <p:nvSpPr>
            <p:cNvPr id="87" name="Rectangle: Top Corners Rounded 12"/>
            <p:cNvSpPr/>
            <p:nvPr/>
          </p:nvSpPr>
          <p:spPr>
            <a:xfrm>
              <a:off x="7418080" y="1247883"/>
              <a:ext cx="2756216" cy="494203"/>
            </a:xfrm>
            <a:prstGeom prst="round2SameRect">
              <a:avLst/>
            </a:prstGeom>
            <a:solidFill>
              <a:schemeClr val="accent1"/>
            </a:solidFill>
            <a:ln w="12700" cap="flat" cmpd="sng" algn="ctr">
              <a:solidFill>
                <a:schemeClr val="bg1"/>
              </a:solid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    应用创新</a:t>
              </a:r>
              <a:endPar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88" name="Graphic 33"/>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1110" y="1273504"/>
              <a:ext cx="481941" cy="481941"/>
            </a:xfrm>
            <a:prstGeom prst="rect">
              <a:avLst/>
            </a:prstGeom>
          </p:spPr>
        </p:pic>
      </p:grpSp>
      <p:cxnSp>
        <p:nvCxnSpPr>
          <p:cNvPr id="89" name="Straight Connector 17"/>
          <p:cNvCxnSpPr/>
          <p:nvPr/>
        </p:nvCxnSpPr>
        <p:spPr>
          <a:xfrm>
            <a:off x="978732" y="2683873"/>
            <a:ext cx="4628914" cy="0"/>
          </a:xfrm>
          <a:prstGeom prst="line">
            <a:avLst/>
          </a:prstGeom>
          <a:ln w="15875">
            <a:solidFill>
              <a:srgbClr val="4A458D"/>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3" name="Oval 27"/>
          <p:cNvSpPr/>
          <p:nvPr/>
        </p:nvSpPr>
        <p:spPr>
          <a:xfrm>
            <a:off x="6815700" y="1934001"/>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302D5C"/>
                </a:solidFill>
                <a:effectLst/>
                <a:uLnTx/>
                <a:uFillTx/>
                <a:latin typeface="Arial" panose="020B0604020202090204"/>
                <a:ea typeface="STZhongsong"/>
                <a:cs typeface="+mn-cs"/>
              </a:rPr>
              <a:t>1</a:t>
            </a:r>
            <a:endParaRPr kumimoji="0" lang="zh-CN" altLang="en-US" sz="1800" b="1" i="0" u="none" strike="noStrike" kern="1200" cap="none" spc="0" normalizeH="0" baseline="0" noProof="0" dirty="0">
              <a:ln>
                <a:noFill/>
              </a:ln>
              <a:solidFill>
                <a:srgbClr val="302D5C"/>
              </a:solidFill>
              <a:effectLst/>
              <a:uLnTx/>
              <a:uFillTx/>
              <a:latin typeface="Arial" panose="020B0604020202090204"/>
              <a:ea typeface="STZhongsong"/>
              <a:cs typeface="+mn-cs"/>
            </a:endParaRPr>
          </a:p>
        </p:txBody>
      </p:sp>
      <p:sp>
        <p:nvSpPr>
          <p:cNvPr id="94" name="文本框 1"/>
          <p:cNvSpPr txBox="1"/>
          <p:nvPr>
            <p:custDataLst>
              <p:tags r:id="rId8"/>
            </p:custDataLst>
          </p:nvPr>
        </p:nvSpPr>
        <p:spPr>
          <a:xfrm>
            <a:off x="7204784" y="1844711"/>
            <a:ext cx="4315871" cy="377411"/>
          </a:xfrm>
          <a:prstGeom prst="rect">
            <a:avLst/>
          </a:prstGeom>
          <a:noFill/>
        </p:spPr>
        <p:txBody>
          <a:bodyPr wrap="square" rtlCol="0" anchor="t">
            <a:spAutoFit/>
          </a:bodyPr>
          <a:lstStyle/>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n-ea"/>
              </a:rPr>
              <a:t>单剂量包装</a:t>
            </a:r>
            <a:r>
              <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更契合围术期短程、精准、卫生用药</a:t>
            </a:r>
            <a:endPar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endParaRPr>
          </a:p>
        </p:txBody>
      </p:sp>
      <p:sp>
        <p:nvSpPr>
          <p:cNvPr id="96" name="Oval 27"/>
          <p:cNvSpPr/>
          <p:nvPr/>
        </p:nvSpPr>
        <p:spPr>
          <a:xfrm>
            <a:off x="6816529" y="4251618"/>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302D5C"/>
                </a:solidFill>
                <a:effectLst/>
                <a:uLnTx/>
                <a:uFillTx/>
                <a:latin typeface="Arial" panose="020B0604020202090204"/>
                <a:ea typeface="STZhongsong"/>
                <a:cs typeface="+mn-cs"/>
              </a:rPr>
              <a:t>2</a:t>
            </a:r>
            <a:endParaRPr kumimoji="0" lang="zh-CN" altLang="en-US" sz="1800" b="1" i="0" u="none" strike="noStrike" kern="1200" cap="none" spc="0" normalizeH="0" baseline="0" noProof="0" dirty="0">
              <a:ln>
                <a:noFill/>
              </a:ln>
              <a:solidFill>
                <a:srgbClr val="302D5C"/>
              </a:solidFill>
              <a:effectLst/>
              <a:uLnTx/>
              <a:uFillTx/>
              <a:latin typeface="Arial" panose="020B0604020202090204"/>
              <a:ea typeface="STZhongsong"/>
              <a:cs typeface="+mn-cs"/>
            </a:endParaRPr>
          </a:p>
        </p:txBody>
      </p:sp>
      <p:sp>
        <p:nvSpPr>
          <p:cNvPr id="13" name="Rectangle: Top Corners Rounded 12"/>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基本信息</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7" name="Rectangle: Top Corners Rounded 16"/>
          <p:cNvSpPr/>
          <p:nvPr/>
        </p:nvSpPr>
        <p:spPr>
          <a:xfrm rot="5400000">
            <a:off x="-227353" y="4557194"/>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创新性</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8" name="Rectangle: Top Corners Rounded 17"/>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公平性</a:t>
            </a:r>
            <a:endParaRPr kumimoji="0" lang="en-US" sz="1400" b="1" i="0" u="none" strike="noStrike" kern="120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0" name="Oval 27"/>
          <p:cNvSpPr/>
          <p:nvPr/>
        </p:nvSpPr>
        <p:spPr>
          <a:xfrm>
            <a:off x="978732" y="1884400"/>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a:ln>
                  <a:noFill/>
                </a:ln>
                <a:solidFill>
                  <a:srgbClr val="302D5C"/>
                </a:solidFill>
                <a:effectLst/>
                <a:uLnTx/>
                <a:uFillTx/>
                <a:latin typeface="Arial" panose="020B0604020202090204"/>
                <a:ea typeface="STZhongsong"/>
                <a:cs typeface="+mn-cs"/>
              </a:rPr>
              <a:t>1</a:t>
            </a:r>
            <a:endParaRPr kumimoji="0" lang="zh-CN" altLang="en-US" sz="1800" b="1" i="0" u="none" strike="noStrike" kern="1200" cap="none" spc="0" normalizeH="0" baseline="0" noProof="0">
              <a:ln>
                <a:noFill/>
              </a:ln>
              <a:solidFill>
                <a:srgbClr val="302D5C"/>
              </a:solidFill>
              <a:effectLst/>
              <a:uLnTx/>
              <a:uFillTx/>
              <a:latin typeface="Arial" panose="020B0604020202090204"/>
              <a:ea typeface="STZhongsong"/>
              <a:cs typeface="+mn-cs"/>
            </a:endParaRPr>
          </a:p>
        </p:txBody>
      </p:sp>
      <p:sp>
        <p:nvSpPr>
          <p:cNvPr id="19" name="文本框 18"/>
          <p:cNvSpPr txBox="1"/>
          <p:nvPr/>
        </p:nvSpPr>
        <p:spPr>
          <a:xfrm>
            <a:off x="1375702" y="1805072"/>
            <a:ext cx="4348784" cy="700192"/>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0"/>
              </a:spcAft>
              <a:buClrTx/>
              <a:buSzPct val="100000"/>
              <a:buFontTx/>
              <a:buNone/>
              <a:defRPr sz="1600"/>
            </a:pPr>
            <a:r>
              <a:rPr kumimoji="1" lang="zh-CN" altLang="en-US" sz="1400" b="1"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国内</a:t>
            </a:r>
            <a:r>
              <a:rPr kumimoji="1" lang="zh-CN" altLang="en-US" sz="1400" b="1" i="0" u="none" strike="noStrike" kern="1200" cap="none" spc="0" normalizeH="0" baseline="0" noProof="0" dirty="0">
                <a:ln>
                  <a:noFill/>
                </a:ln>
                <a:solidFill>
                  <a:srgbClr val="C00000"/>
                </a:solidFill>
                <a:effectLst/>
                <a:uLnTx/>
                <a:uFillTx/>
                <a:latin typeface="微软雅黑" charset="0"/>
                <a:ea typeface="微软雅黑" charset="0"/>
                <a:cs typeface="+mn-cs"/>
                <a:sym typeface="+mn-ea"/>
              </a:rPr>
              <a:t>唯一获批</a:t>
            </a:r>
            <a:r>
              <a:rPr kumimoji="1" lang="zh-CN" altLang="en-US" sz="1400" b="1"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围术期一站式稳瞳抗炎的双适应症非甾体滴眼液</a:t>
            </a:r>
            <a:endParaRPr kumimoji="0" lang="zh-CN" altLang="en-US" sz="1400" b="1" i="0" u="none" strike="noStrike" kern="1200" cap="none" spc="0" normalizeH="0" baseline="0" noProof="0" dirty="0">
              <a:ln>
                <a:noFill/>
              </a:ln>
              <a:solidFill>
                <a:srgbClr val="302E5D"/>
              </a:solidFill>
              <a:effectLst/>
              <a:uLnTx/>
              <a:uFillTx/>
              <a:latin typeface="Arial" panose="020B0604020202090204"/>
              <a:ea typeface="STZhongsong"/>
              <a:cs typeface="+mn-cs"/>
            </a:endParaRPr>
          </a:p>
        </p:txBody>
      </p:sp>
      <p:sp>
        <p:nvSpPr>
          <p:cNvPr id="7" name="Rectangle: Top Corners Rounded 29"/>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安全性</a:t>
            </a:r>
            <a:endParaRPr kumimoji="0" 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 name="Rectangle: Top Corners Rounded 40"/>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有效性</a:t>
            </a:r>
            <a:endParaRPr kumimoji="0" lang="en-US" sz="14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5" name="矩形 14"/>
          <p:cNvSpPr/>
          <p:nvPr/>
        </p:nvSpPr>
        <p:spPr>
          <a:xfrm>
            <a:off x="3974000" y="6002080"/>
            <a:ext cx="258106" cy="89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Arial" panose="020B0604020202090204"/>
              <a:ea typeface="STZhongsong"/>
              <a:cs typeface="+mn-cs"/>
            </a:endParaRPr>
          </a:p>
        </p:txBody>
      </p:sp>
      <p:sp>
        <p:nvSpPr>
          <p:cNvPr id="6" name="object 4"/>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panose="020B0604020202090204"/>
                <a:ea typeface="STZhongsong"/>
                <a:cs typeface="+mn-cs"/>
              </a:rPr>
              <a:t>8</a:t>
            </a:r>
            <a:endParaRPr kumimoji="0" sz="1000" b="1" i="0" u="none" strike="noStrike" kern="1200" cap="none" spc="0" normalizeH="0" baseline="0" noProof="0">
              <a:ln>
                <a:noFill/>
              </a:ln>
              <a:solidFill>
                <a:srgbClr val="FFFFFF"/>
              </a:solidFill>
              <a:effectLst/>
              <a:uLnTx/>
              <a:uFillTx/>
              <a:latin typeface="Arial" panose="020B0604020202090204"/>
              <a:ea typeface="STZhongsong"/>
              <a:cs typeface="+mn-cs"/>
            </a:endParaRPr>
          </a:p>
        </p:txBody>
      </p:sp>
      <p:cxnSp>
        <p:nvCxnSpPr>
          <p:cNvPr id="8" name="Straight Connector 17"/>
          <p:cNvCxnSpPr/>
          <p:nvPr/>
        </p:nvCxnSpPr>
        <p:spPr>
          <a:xfrm>
            <a:off x="6907971" y="4025343"/>
            <a:ext cx="4420429" cy="0"/>
          </a:xfrm>
          <a:prstGeom prst="line">
            <a:avLst/>
          </a:prstGeom>
          <a:ln w="15875">
            <a:solidFill>
              <a:srgbClr val="4A458D"/>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6760212" y="2267484"/>
            <a:ext cx="4568189" cy="1363140"/>
          </a:xfrm>
          <a:prstGeom prst="rect">
            <a:avLst/>
          </a:prstGeom>
          <a:noFill/>
        </p:spPr>
        <p:txBody>
          <a:bodyPr wrap="square" rtlCol="0">
            <a:noAutofit/>
          </a:bodyPr>
          <a:lstStyle/>
          <a:p>
            <a:pPr marL="285750" marR="0" lvl="0" indent="-285750" algn="just" defTabSz="914400" rtl="0" eaLnBrk="1" fontAlgn="auto" latinLnBrk="0" hangingPunct="1">
              <a:lnSpc>
                <a:spcPct val="150000"/>
              </a:lnSpc>
              <a:spcBef>
                <a:spcPct val="0"/>
              </a:spcBef>
              <a:spcAft>
                <a:spcPct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本品采用单剂量包装，符合眼科围术期短疗程、阶段性、精准用药特点，有助于减少多剂量包装反复开启带来的污染风险，</a:t>
            </a:r>
            <a:endParaRPr kumimoji="0" lang="en-US" altLang="zh-CN"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endParaRPr>
          </a:p>
          <a:p>
            <a:pPr marL="285750" marR="0" lvl="0" indent="-285750" algn="just" defTabSz="914400" rtl="0" eaLnBrk="1" fontAlgn="auto" latinLnBrk="0" hangingPunct="1">
              <a:lnSpc>
                <a:spcPct val="150000"/>
              </a:lnSpc>
              <a:spcBef>
                <a:spcPct val="0"/>
              </a:spcBef>
              <a:spcAft>
                <a:spcPct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便于按术前、术后不同用药阶段进行剂量核算和医保支付管理。</a:t>
            </a:r>
            <a:endParaRPr kumimoji="0" lang="en-US" altLang="en-US" sz="1400" b="0" i="0" u="none" strike="noStrike" kern="1200" cap="none" spc="0" normalizeH="0" baseline="0" noProof="0" dirty="0">
              <a:ln>
                <a:noFill/>
              </a:ln>
              <a:solidFill>
                <a:srgbClr val="2B3A42">
                  <a:lumMod val="75000"/>
                  <a:lumOff val="25000"/>
                </a:srgbClr>
              </a:solidFill>
              <a:effectLst/>
              <a:uLnTx/>
              <a:uFillTx/>
              <a:latin typeface="微软雅黑" charset="0"/>
              <a:ea typeface="微软雅黑" charset="0"/>
              <a:cs typeface="Noto Sans SC"/>
              <a:sym typeface="Noto Sans SC"/>
            </a:endParaRPr>
          </a:p>
        </p:txBody>
      </p:sp>
      <p:sp>
        <p:nvSpPr>
          <p:cNvPr id="24" name="文本框 23"/>
          <p:cNvSpPr txBox="1"/>
          <p:nvPr/>
        </p:nvSpPr>
        <p:spPr>
          <a:xfrm>
            <a:off x="7204784" y="4180498"/>
            <a:ext cx="2974536" cy="377411"/>
          </a:xfrm>
          <a:prstGeom prst="rect">
            <a:avLst/>
          </a:prstGeom>
          <a:noFill/>
        </p:spPr>
        <p:txBody>
          <a:bodyPr wrap="square" rtlCol="0" anchor="t">
            <a:spAutoFit/>
          </a:bodyPr>
          <a:lstStyle>
            <a:defPPr>
              <a:defRPr lang="en-US"/>
            </a:defPPr>
            <a:lvl1pPr>
              <a:lnSpc>
                <a:spcPct val="110000"/>
              </a:lnSpc>
              <a:spcAft>
                <a:spcPts val="600"/>
              </a:spcAft>
              <a:defRPr sz="1400" b="1">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mn-ea"/>
              </a:rPr>
              <a:t>不含防腐剂</a:t>
            </a:r>
            <a:r>
              <a:rPr kumimoji="0" lang="zh-CN" altLang="en-US" sz="1400" b="1" i="0" u="none" strike="noStrike" kern="1200" cap="none" spc="0" normalizeH="0" baseline="0" noProof="0" dirty="0">
                <a:ln>
                  <a:noFill/>
                </a:ln>
                <a:solidFill>
                  <a:srgbClr val="F0B323">
                    <a:lumMod val="75000"/>
                  </a:srgbClr>
                </a:solidFill>
                <a:effectLst/>
                <a:uLnTx/>
                <a:uFillTx/>
                <a:latin typeface="微软雅黑" panose="020B0503020204020204" pitchFamily="34" charset="-122"/>
                <a:ea typeface="微软雅黑" panose="020B0503020204020204" pitchFamily="34" charset="-122"/>
                <a:cs typeface="+mn-cs"/>
                <a:sym typeface="+mn-ea"/>
              </a:rPr>
              <a:t>，</a:t>
            </a:r>
            <a:r>
              <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rPr>
              <a:t>减少眼表额外刺激</a:t>
            </a:r>
            <a:endPar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sym typeface="+mn-ea"/>
            </a:endParaRPr>
          </a:p>
        </p:txBody>
      </p:sp>
      <p:sp>
        <p:nvSpPr>
          <p:cNvPr id="25" name="文本框 24"/>
          <p:cNvSpPr txBox="1"/>
          <p:nvPr/>
        </p:nvSpPr>
        <p:spPr>
          <a:xfrm>
            <a:off x="6721907" y="4565574"/>
            <a:ext cx="4512700" cy="1622890"/>
          </a:xfrm>
          <a:prstGeom prst="rect">
            <a:avLst/>
          </a:prstGeom>
          <a:noFill/>
        </p:spPr>
        <p:txBody>
          <a:bodyPr wrap="square" rtlCol="0">
            <a:no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sym typeface="+mn-ea"/>
              </a:rPr>
              <a:t>本品采用不含防腐剂的单剂量包装，避免苯扎氯铵等常见眼用防腐剂可能带来的眼表刺激、泪膜稳定性影响及角膜上皮负担，更适合眼科围术期患者短程、高频、敏感眼表状态下使用。</a:t>
            </a:r>
            <a:endParaRPr kumimoji="0" lang="en-US" altLang="en-US" sz="1400" b="0" i="0" u="none" strike="noStrike" kern="1200" cap="none" spc="0" normalizeH="0" baseline="0" noProof="0" dirty="0">
              <a:ln>
                <a:noFill/>
              </a:ln>
              <a:solidFill>
                <a:srgbClr val="2B3A42">
                  <a:lumMod val="75000"/>
                  <a:lumOff val="25000"/>
                </a:srgbClr>
              </a:solidFill>
              <a:effectLst/>
              <a:uLnTx/>
              <a:uFillTx/>
              <a:latin typeface="微软雅黑" charset="0"/>
              <a:ea typeface="微软雅黑" charset="0"/>
              <a:cs typeface="Noto Sans SC"/>
              <a:sym typeface="Noto Sans SC"/>
            </a:endParaRPr>
          </a:p>
        </p:txBody>
      </p:sp>
      <p:sp>
        <p:nvSpPr>
          <p:cNvPr id="65" name="文本框 64"/>
          <p:cNvSpPr txBox="1"/>
          <p:nvPr/>
        </p:nvSpPr>
        <p:spPr>
          <a:xfrm>
            <a:off x="1393782" y="2813628"/>
            <a:ext cx="4348784" cy="700576"/>
          </a:xfrm>
          <a:prstGeom prst="rect">
            <a:avLst/>
          </a:prstGeom>
          <a:noFill/>
        </p:spPr>
        <p:txBody>
          <a:bodyPr wrap="square" rtlCol="0" anchor="t">
            <a:spAutoFit/>
          </a:bodyPr>
          <a:lstStyle>
            <a:defPPr>
              <a:defRPr lang="en-US"/>
            </a:defPPr>
            <a:lvl1pPr>
              <a:lnSpc>
                <a:spcPct val="110000"/>
              </a:lnSpc>
              <a:spcAft>
                <a:spcPts val="600"/>
              </a:spcAft>
              <a:defRPr sz="1400" b="1">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实现</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质量一致性与供应链自主</a:t>
            </a:r>
            <a:r>
              <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rPr>
              <a:t>，实现了从技术引进到普惠可及的机制跃升</a:t>
            </a:r>
            <a:endParaRPr kumimoji="0" lang="zh-CN" altLang="en-US" sz="1400" b="1" i="0" u="none" strike="noStrike" kern="1200" cap="none" spc="0" normalizeH="0" baseline="0" noProof="0" dirty="0">
              <a:ln>
                <a:noFill/>
              </a:ln>
              <a:solidFill>
                <a:srgbClr val="2B3A42"/>
              </a:solidFill>
              <a:effectLst/>
              <a:uLnTx/>
              <a:uFillTx/>
              <a:latin typeface="微软雅黑" panose="020B0503020204020204" pitchFamily="34" charset="-122"/>
              <a:ea typeface="微软雅黑" panose="020B0503020204020204" pitchFamily="34" charset="-122"/>
              <a:cs typeface="+mn-cs"/>
            </a:endParaRPr>
          </a:p>
        </p:txBody>
      </p:sp>
      <p:sp>
        <p:nvSpPr>
          <p:cNvPr id="67" name="Oval 27"/>
          <p:cNvSpPr/>
          <p:nvPr/>
        </p:nvSpPr>
        <p:spPr>
          <a:xfrm>
            <a:off x="978732" y="2907261"/>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302D5C"/>
                </a:solidFill>
                <a:effectLst/>
                <a:uLnTx/>
                <a:uFillTx/>
                <a:latin typeface="Arial" panose="020B0604020202090204"/>
                <a:ea typeface="STZhongsong"/>
                <a:cs typeface="+mn-cs"/>
              </a:rPr>
              <a:t>2</a:t>
            </a:r>
            <a:endParaRPr kumimoji="0" lang="zh-CN" altLang="en-US" sz="1800" b="1" i="0" u="none" strike="noStrike" kern="1200" cap="none" spc="0" normalizeH="0" baseline="0" noProof="0" dirty="0">
              <a:ln>
                <a:noFill/>
              </a:ln>
              <a:solidFill>
                <a:srgbClr val="302D5C"/>
              </a:solidFill>
              <a:effectLst/>
              <a:uLnTx/>
              <a:uFillTx/>
              <a:latin typeface="Arial" panose="020B0604020202090204"/>
              <a:ea typeface="STZhongsong"/>
              <a:cs typeface="+mn-cs"/>
            </a:endParaRPr>
          </a:p>
        </p:txBody>
      </p:sp>
      <p:sp>
        <p:nvSpPr>
          <p:cNvPr id="71" name="文本框 70"/>
          <p:cNvSpPr txBox="1"/>
          <p:nvPr/>
        </p:nvSpPr>
        <p:spPr>
          <a:xfrm>
            <a:off x="940763" y="3589984"/>
            <a:ext cx="4704852" cy="2336315"/>
          </a:xfrm>
          <a:prstGeom prst="rect">
            <a:avLst/>
          </a:prstGeom>
          <a:noFill/>
        </p:spPr>
        <p:txBody>
          <a:bodyPr wrap="square" rtlCol="0">
            <a:noAutofit/>
          </a:bodyPr>
          <a:lstStyle>
            <a:defPPr>
              <a:defRPr lang="en-US"/>
            </a:defPPr>
            <a:lvl1pPr marL="171450" indent="-171450" algn="just">
              <a:lnSpc>
                <a:spcPct val="130000"/>
              </a:lnSpc>
              <a:spcBef>
                <a:spcPct val="0"/>
              </a:spcBef>
              <a:spcAft>
                <a:spcPct val="0"/>
              </a:spcAft>
              <a:buFont typeface="Wingdings" panose="05000000000000000000" pitchFamily="2" charset="2"/>
              <a:buChar char="u"/>
              <a:defRPr sz="1200">
                <a:latin typeface="微软雅黑" charset="0"/>
                <a:ea typeface="微软雅黑" charset="0"/>
              </a:defRPr>
            </a:lvl1pPr>
          </a:lstStyle>
          <a:p>
            <a:pPr marL="284480" marR="0" lvl="0" indent="-284480" algn="just" defTabSz="914400" rtl="0" eaLnBrk="1" fontAlgn="auto" latinLnBrk="0" hangingPunct="1">
              <a:lnSpc>
                <a:spcPct val="150000"/>
              </a:lnSpc>
              <a:spcBef>
                <a:spcPct val="0"/>
              </a:spcBef>
              <a:spcAft>
                <a:spcPct val="0"/>
              </a:spcAft>
              <a:buClrTx/>
              <a:buSzTx/>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本</a:t>
            </a:r>
            <a:r>
              <a:rPr lang="zh-CN" altLang="en-US" sz="1400" dirty="0">
                <a:solidFill>
                  <a:srgbClr val="2B3A42"/>
                </a:solidFill>
              </a:rPr>
              <a:t>品</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通过制剂工艺创新，实现与原研</a:t>
            </a:r>
            <a:r>
              <a:rPr kumimoji="0" lang="en-US" altLang="zh-CN" sz="1400" b="0" i="0" u="none" strike="noStrike" kern="1200" cap="none" spc="0" normalizeH="0" baseline="0" noProof="0" dirty="0">
                <a:ln>
                  <a:noFill/>
                </a:ln>
                <a:solidFill>
                  <a:srgbClr val="2B3A42"/>
                </a:solidFill>
                <a:effectLst/>
                <a:uLnTx/>
                <a:uFillTx/>
                <a:latin typeface="微软雅黑" charset="0"/>
                <a:ea typeface="微软雅黑" charset="0"/>
                <a:cs typeface="+mn-cs"/>
              </a:rPr>
              <a:t>OCUFEN®</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的质量一致性与供应链自主。</a:t>
            </a:r>
            <a:endParaRPr kumimoji="0" lang="en-US" altLang="zh-CN" sz="1400" b="0" i="0" u="none" strike="noStrike" kern="1200" cap="none" spc="0" normalizeH="0" baseline="0" noProof="0" dirty="0">
              <a:ln>
                <a:noFill/>
              </a:ln>
              <a:solidFill>
                <a:srgbClr val="2B3A42"/>
              </a:solidFill>
              <a:effectLst/>
              <a:uLnTx/>
              <a:uFillTx/>
              <a:latin typeface="微软雅黑" charset="0"/>
              <a:ea typeface="微软雅黑" charset="0"/>
              <a:cs typeface="+mn-cs"/>
            </a:endParaRPr>
          </a:p>
          <a:p>
            <a:pPr marL="284480" marR="0" lvl="0" indent="-284480" algn="just" defTabSz="914400" rtl="0" eaLnBrk="1" fontAlgn="auto" latinLnBrk="0" hangingPunct="1">
              <a:lnSpc>
                <a:spcPct val="150000"/>
              </a:lnSpc>
              <a:spcBef>
                <a:spcPct val="0"/>
              </a:spcBef>
              <a:spcAft>
                <a:spcPct val="0"/>
              </a:spcAft>
              <a:buClrTx/>
              <a:buSzTx/>
              <a:defRPr/>
            </a:pP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将国际验证的“术中缩瞳+术后抗炎”双机制临床价值，以国产化路径转化为稳定、可及的公共健康产品。</a:t>
            </a:r>
            <a:endParaRPr kumimoji="0" lang="en-US" altLang="zh-CN" sz="1400" b="0" i="0" u="none" strike="noStrike" kern="1200" cap="none" spc="0" normalizeH="0" baseline="0" noProof="0" dirty="0">
              <a:ln>
                <a:noFill/>
              </a:ln>
              <a:solidFill>
                <a:srgbClr val="2B3A42"/>
              </a:solidFill>
              <a:effectLst/>
              <a:uLnTx/>
              <a:uFillTx/>
              <a:latin typeface="微软雅黑" charset="0"/>
              <a:ea typeface="微软雅黑" charset="0"/>
              <a:cs typeface="+mn-cs"/>
            </a:endParaRPr>
          </a:p>
          <a:p>
            <a:pPr marL="284480" marR="0" lvl="0" indent="-284480" algn="just" defTabSz="914400" rtl="0" eaLnBrk="1" fontAlgn="auto" latinLnBrk="0" hangingPunct="1">
              <a:lnSpc>
                <a:spcPct val="150000"/>
              </a:lnSpc>
              <a:spcBef>
                <a:spcPct val="0"/>
              </a:spcBef>
              <a:spcAft>
                <a:spcPct val="0"/>
              </a:spcAft>
              <a:buClrTx/>
              <a:buSzTx/>
              <a:defRPr/>
            </a:pP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对标+自主”的转化机制</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打破了进口依赖与非规范用药的路径锁定，以体系化能力保障眼科围术期用药的规范供应，</a:t>
            </a:r>
            <a:r>
              <a:rPr kumimoji="0" lang="zh-CN" altLang="en-US" sz="1400" b="1" i="0" u="none" strike="noStrike" kern="1200" cap="none" spc="0" normalizeH="0" baseline="0" noProof="0" dirty="0">
                <a:ln>
                  <a:noFill/>
                </a:ln>
                <a:solidFill>
                  <a:srgbClr val="302E5D"/>
                </a:solidFill>
                <a:effectLst/>
                <a:uLnTx/>
                <a:uFillTx/>
                <a:latin typeface="微软雅黑" panose="020B0503020204020204" pitchFamily="34" charset="-122"/>
                <a:ea typeface="微软雅黑" panose="020B0503020204020204" pitchFamily="34" charset="-122"/>
                <a:cs typeface="+mn-cs"/>
              </a:rPr>
              <a:t>实现了从技术引进到普惠可及的机制跃升</a:t>
            </a:r>
            <a:r>
              <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rPr>
              <a:t>。</a:t>
            </a:r>
            <a:endParaRPr kumimoji="0" lang="zh-CN" altLang="en-US" sz="1400" b="0" i="0" u="none" strike="noStrike" kern="1200" cap="none" spc="0" normalizeH="0" baseline="0" noProof="0" dirty="0">
              <a:ln>
                <a:noFill/>
              </a:ln>
              <a:solidFill>
                <a:srgbClr val="2B3A42"/>
              </a:solidFill>
              <a:effectLst/>
              <a:uLnTx/>
              <a:uFillTx/>
              <a:latin typeface="微软雅黑" charset="0"/>
              <a:ea typeface="微软雅黑" charset="0"/>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IcPpYTQLtyf7QK5ZJJNSig"/>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OjEi2SEjC7_.cv0WGRKAY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T3EJbFULnppd_fLTZTnR6Q"/>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bC4MvoijkMTcQyzcz_FWeQ"/>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JfNJsDlltttHWA6LU3h.Pg"/>
</p:tagLst>
</file>

<file path=ppt/tags/tag2.xml><?xml version="1.0" encoding="utf-8"?>
<p:tagLst xmlns:p="http://schemas.openxmlformats.org/presentationml/2006/main">
  <p:tag name="THINKCELLSHAPEDONOTDELETE" val="tJfNJsDlltttHWA6LU3h.Pg"/>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LfDRXOyONSw5PDe4U67oLA"/>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ZobnggrodrD37s_7mfh4eQ"/>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ZobnggrodrD37s_7mfh4eQ"/>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IcPpYTQLtyf7QK5ZJJNSig"/>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OjEi2SEjC7_.cv0WGRKAYA"/>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T3EJbFULnppd_fLTZTnR6Q"/>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bC4MvoijkMTcQyzcz_FWeQ"/>
</p:tagLst>
</file>

<file path=ppt/tags/tag34.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LfDRXOyONSw5PDe4U67oLA"/>
</p:tagLst>
</file>

<file path=ppt/tags/tag40.xml><?xml version="1.0" encoding="utf-8"?>
<p:tagLst xmlns:p="http://schemas.openxmlformats.org/presentationml/2006/main">
  <p:tag name="TABLE_ENDDRAG_ORIGIN_RECT" val="243*117"/>
  <p:tag name="TABLE_ENDDRAG_RECT" val="217*357*243*117"/>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ABLE_ENDDRAG_ORIGIN_RECT" val="412*86"/>
  <p:tag name="TABLE_ENDDRAG_RECT" val="494*286*412*86"/>
  <p:tag name="TABLE_AUTOADJUST_FLAG" val="1"/>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hinkcellActiveDocDoNotDelete"/>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PRESENTATIONDONOTDELETE" val="&lt;?xml version=&quot;1.0&quot; encoding=&quot;UTF-16&quot; standalone=&quot;yes&quot;?&gt;&lt;root reqver=&quot;28224&quot;&gt;&lt;version val=&quot;353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6.xml><?xml version="1.0" encoding="utf-8"?>
<p:tagLst xmlns:p="http://schemas.openxmlformats.org/presentationml/2006/main">
  <p:tag name="THINKCELLSHAPEDONOTDELETE" val="tZobnggrodrD37s_7mfh4eQ"/>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ZobnggrodrD37s_7mfh4eQ"/>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IQVIA_V2.0.0">
  <a:themeElements>
    <a:clrScheme name="自定义 19">
      <a:dk1>
        <a:srgbClr val="2B3A42"/>
      </a:dk1>
      <a:lt1>
        <a:srgbClr val="FFFFFF"/>
      </a:lt1>
      <a:dk2>
        <a:srgbClr val="606B71"/>
      </a:dk2>
      <a:lt2>
        <a:srgbClr val="F3F3F3"/>
      </a:lt2>
      <a:accent1>
        <a:srgbClr val="302E5D"/>
      </a:accent1>
      <a:accent2>
        <a:srgbClr val="766C91"/>
      </a:accent2>
      <a:accent3>
        <a:srgbClr val="5EB7C7"/>
      </a:accent3>
      <a:accent4>
        <a:srgbClr val="027123"/>
      </a:accent4>
      <a:accent5>
        <a:srgbClr val="00BFB3"/>
      </a:accent5>
      <a:accent6>
        <a:srgbClr val="F0B323"/>
      </a:accent6>
      <a:hlink>
        <a:srgbClr val="00A3E0"/>
      </a:hlink>
      <a:folHlink>
        <a:srgbClr val="005587"/>
      </a:folHlink>
    </a:clrScheme>
    <a:fontScheme name="Custom 3">
      <a:majorFont>
        <a:latin typeface="Arial"/>
        <a:ea typeface="STZhongsong"/>
        <a:cs typeface=""/>
      </a:majorFont>
      <a:minorFont>
        <a:latin typeface="Arial"/>
        <a:ea typeface="STZhongsong"/>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QVIA_V2.0.0">
  <a:themeElements>
    <a:clrScheme name="自定义 19">
      <a:dk1>
        <a:srgbClr val="2B3A42"/>
      </a:dk1>
      <a:lt1>
        <a:srgbClr val="FFFFFF"/>
      </a:lt1>
      <a:dk2>
        <a:srgbClr val="606B71"/>
      </a:dk2>
      <a:lt2>
        <a:srgbClr val="F3F3F3"/>
      </a:lt2>
      <a:accent1>
        <a:srgbClr val="302E5D"/>
      </a:accent1>
      <a:accent2>
        <a:srgbClr val="766C91"/>
      </a:accent2>
      <a:accent3>
        <a:srgbClr val="5EB7C7"/>
      </a:accent3>
      <a:accent4>
        <a:srgbClr val="027123"/>
      </a:accent4>
      <a:accent5>
        <a:srgbClr val="00BFB3"/>
      </a:accent5>
      <a:accent6>
        <a:srgbClr val="F0B323"/>
      </a:accent6>
      <a:hlink>
        <a:srgbClr val="00A3E0"/>
      </a:hlink>
      <a:folHlink>
        <a:srgbClr val="005587"/>
      </a:folHlink>
    </a:clrScheme>
    <a:fontScheme name="Custom 3">
      <a:majorFont>
        <a:latin typeface="Arial"/>
        <a:ea typeface="STZhongsong"/>
        <a:cs typeface=""/>
      </a:majorFont>
      <a:minorFont>
        <a:latin typeface="Arial"/>
        <a:ea typeface="STZhongsong"/>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游ゴシック Light"/>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49.xml"/></Relationships>
</file>

<file path=customXml/item1.xml><?xml version="1.0" encoding="utf-8"?>
<p:properties xmlns:p="http://schemas.microsoft.com/office/2006/metadata/properties" xmlns:pc="http://schemas.microsoft.com/office/infopath/2007/PartnerControl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ma:contentTypeID="0x01010019F2F3A0F661AE4BB990859873F8E9D0" ma:contentTypeName="Document" ct:_="" ma:contentTypeVersion="4" ma:_="" ma:contentTypeScope="" ma:versionID="c88b9ad718c7c8186c9b4d7c6484eedc" ma:contentTypeDescription="Create a new document.">
  <xsd:schema xmlns:p="http://schemas.microsoft.com/office/2006/metadata/properties" xmlns:ns2="58639c43-84b2-4cd8-bfa4-38cf35135de0" xmlns:xsd="http://www.w3.org/2001/XMLSchema" xmlns:xs="http://www.w3.org/2001/XMLSchema" ma:root="true" ma:fieldsID="96a0af3b263b9695563043d869b9117d" targetNamespace="http://schemas.microsoft.com/office/2006/metadata/properties" ns2:_="">
    <xsd:import namespace="58639c43-84b2-4cd8-bfa4-38cf35135de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pc="http://schemas.microsoft.com/office/infopath/2007/PartnerControls" xmlns:xsd="http://www.w3.org/2001/XMLSchema" xmlns:xs="http://www.w3.org/2001/XMLSchema" xmlns:dms="http://schemas.microsoft.com/office/2006/documentManagement/types" elementFormDefault="qualified" targetNamespace="58639c43-84b2-4cd8-bfa4-38cf35135de0">
    <xsd:import namespace="http://schemas.microsoft.com/office/2006/documentManagement/types"/>
    <xsd:import namespace="http://schemas.microsoft.com/office/infopath/2007/PartnerControls"/>
    <xsd:element nillable="true" name="MediaServiceMetadata" ma:readOnly="true" ma:index="8" ma:hidden="true" ma:internalName="MediaServiceMetadata" ma:displayName="MediaServiceMetadata">
      <xsd:simpleType>
        <xsd:restriction base="dms:Note"/>
      </xsd:simpleType>
    </xsd:element>
    <xsd:element nillable="true" name="MediaServiceFastMetadata" ma:readOnly="true" ma:index="9" ma:hidden="true" ma:internalName="MediaServiceFastMetadata" ma:displayName="MediaServiceFastMetadata">
      <xsd:simpleType>
        <xsd:restriction base="dms:Note"/>
      </xsd:simpleType>
    </xsd:element>
    <xsd:element ma:indexed="true" nillable="true" name="MediaServiceObjectDetectorVersions" ma:readOnly="true" ma:index="10" ma:hidden="true" ma:internalName="MediaServiceObjectDetectorVersions" ma:displayName="MediaServiceObjectDetectorVersions">
      <xsd:simpleType>
        <xsd:restriction base="dms:Text"/>
      </xsd:simpleType>
    </xsd:element>
    <xsd:element nillable="true" name="MediaServiceSearchProperties" ma:readOnly="true" ma:index="11" ma:hidden="true" ma:internalName="MediaServiceSearchProperties" ma:displayName="MediaServiceSearchProperties">
      <xsd:simpleType>
        <xsd:restriction base="dms:Note"/>
      </xsd:simpleType>
    </xsd:element>
  </xsd:schema>
  <xsd:schema xmlns:odoc="http://schemas.microsoft.com/internal/obd" xmlns:dc="http://purl.org/dc/elements/1.1/" xmlns:xsd="http://www.w3.org/2001/XMLSchema" xmlns="http://schemas.openxmlformats.org/package/2006/metadata/core-properties" xmlns:dcterms="http://purl.org/dc/terms/" xmlns:xsi="http://www.w3.org/2001/XMLSchema-instance" elementFormDefault="qualified" targetNamespace="http://schemas.openxmlformats.org/package/2006/metadata/core-properties" attributeFormDefault="unqualified" blockDefault="#all">
    <xsd:import schemaLocation="http://dublincore.org/schemas/xmls/qdc/2003/04/02/dc.xsd" namespace="http://purl.org/dc/elements/1.1/"/>
    <xsd:import schemaLocation="http://dublincore.org/schemas/xmls/qdc/2003/04/02/dcterms.xsd" namespace="http://purl.org/dc/terms/"/>
    <xsd:element name="coreProperties" type="CT_coreProperties"/>
    <xsd:complexType name="CT_coreProperties">
      <xsd:all>
        <xsd:element ref="dc:creator" maxOccurs="1" minOccurs="0"/>
        <xsd:element ref="dcterms:created" maxOccurs="1" minOccurs="0"/>
        <xsd:element ref="dc:identifier" maxOccurs="1" minOccurs="0"/>
        <xsd:element name="contentType" ma:index="0" ma:displayName="Content Type" maxOccurs="1" minOccurs="0" type="xsd:string"/>
        <xsd:element ma:index="4" ma:displayName="Title" ref="dc:title" maxOccurs="1" minOccurs="0"/>
        <xsd:element ref="dc:subject" maxOccurs="1" minOccurs="0"/>
        <xsd:element ref="dc:description" maxOccurs="1" minOccurs="0"/>
        <xsd:element name="keywords" maxOccurs="1" minOccurs="0" type="xsd:string"/>
        <xsd:element ref="dc:language" maxOccurs="1" minOccurs="0"/>
        <xsd:element name="category" maxOccurs="1" minOccurs="0" type="xsd:string"/>
        <xsd:element name="version" maxOccurs="1" minOccurs="0" type="xsd:string"/>
        <xsd:element name="revision" maxOccurs="1" minOccurs="0" type="xsd:string">
          <xsd:annotation>
            <xsd:documentation>
                        This value indicates the number of saves or revisions. The application is responsible for updating this value after each revision.
                    </xsd:documentation>
          </xsd:annotation>
        </xsd:element>
        <xsd:element name="lastModifiedBy" maxOccurs="1" minOccurs="0" type="xsd:string"/>
        <xsd:element ref="dcterms:modified" maxOccurs="1" minOccurs="0"/>
        <xsd:element name="contentStatus" maxOccurs="1" minOccurs="0" type="xsd:string"/>
      </xsd:all>
    </xsd:complexType>
  </xsd:schema>
  <xs:schema xmlns:pc="http://schemas.microsoft.com/office/infopath/2007/PartnerControls" xmlns:xs="http://www.w3.org/2001/XMLSchema" elementFormDefault="qualified" targetNamespace="http://schemas.microsoft.com/office/infopath/2007/PartnerControls"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axOccurs="unbounded" minOccurs="0"/>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axOccurs="unbounded" minOccurs="0"/>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47.xml><?xml version="1.0" encoding="utf-8"?>
<ds:datastoreItem xmlns:ds="http://schemas.openxmlformats.org/officeDocument/2006/customXml" ds:itemID="{E14441BC-B7F8-4986-ADD2-5303ECEB8364}">
  <ds:schemaRefs/>
</ds:datastoreItem>
</file>

<file path=customXml/itemProps48.xml><?xml version="1.0" encoding="utf-8"?>
<ds:datastoreItem xmlns:ds="http://schemas.openxmlformats.org/officeDocument/2006/customXml" ds:itemID="{B7851A04-0515-4EE3-93EE-6E364921B6F2}">
  <ds:schemaRefs/>
</ds:datastoreItem>
</file>

<file path=customXml/itemProps49.xml><?xml version="1.0" encoding="utf-8"?>
<ds:datastoreItem xmlns:ds="http://schemas.openxmlformats.org/officeDocument/2006/customXml" ds:itemID="{D32AA206-13C4-4A94-93DA-43507AC70771}">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046</Words>
  <Application>WPS 演示</Application>
  <PresentationFormat>宽屏</PresentationFormat>
  <Paragraphs>575</Paragraphs>
  <Slides>11</Slides>
  <Notes>1</Notes>
  <HiddenSlides>0</HiddenSlides>
  <MMClips>0</MMClips>
  <ScaleCrop>false</ScaleCrop>
  <HeadingPairs>
    <vt:vector size="8" baseType="variant">
      <vt:variant>
        <vt:lpstr>已用的字体</vt:lpstr>
      </vt:variant>
      <vt:variant>
        <vt:i4>32</vt:i4>
      </vt:variant>
      <vt:variant>
        <vt:lpstr>主题</vt:lpstr>
      </vt:variant>
      <vt:variant>
        <vt:i4>2</vt:i4>
      </vt:variant>
      <vt:variant>
        <vt:lpstr>嵌入 OLE 服务器</vt:lpstr>
      </vt:variant>
      <vt:variant>
        <vt:i4>27</vt:i4>
      </vt:variant>
      <vt:variant>
        <vt:lpstr>幻灯片标题</vt:lpstr>
      </vt:variant>
      <vt:variant>
        <vt:i4>11</vt:i4>
      </vt:variant>
    </vt:vector>
  </HeadingPairs>
  <TitlesOfParts>
    <vt:vector size="72" baseType="lpstr">
      <vt:lpstr>Arial</vt:lpstr>
      <vt:lpstr>宋体</vt:lpstr>
      <vt:lpstr>Wingdings</vt:lpstr>
      <vt:lpstr>Arial Narrow</vt:lpstr>
      <vt:lpstr>STZhongsong</vt:lpstr>
      <vt:lpstr>System Font Regular</vt:lpstr>
      <vt:lpstr>Thonburi</vt:lpstr>
      <vt:lpstr>微软雅黑</vt:lpstr>
      <vt:lpstr>汉仪旗黑</vt:lpstr>
      <vt:lpstr>微软雅黑</vt:lpstr>
      <vt:lpstr>Wingdings</vt:lpstr>
      <vt:lpstr>Noto Sans</vt:lpstr>
      <vt:lpstr>Times New Roman</vt:lpstr>
      <vt:lpstr>微软雅黑</vt:lpstr>
      <vt:lpstr>DengXian</vt:lpstr>
      <vt:lpstr>苹方-简</vt:lpstr>
      <vt:lpstr>思源黑体 CN Bold</vt:lpstr>
      <vt:lpstr>Arial</vt:lpstr>
      <vt:lpstr>STZhongsong</vt:lpstr>
      <vt:lpstr>Noto Sans SC</vt:lpstr>
      <vt:lpstr>华文宋体</vt:lpstr>
      <vt:lpstr>黑体</vt:lpstr>
      <vt:lpstr>汉仪中黑KW</vt:lpstr>
      <vt:lpstr>汉仪中等线KW</vt:lpstr>
      <vt:lpstr>汉仪书宋二KW</vt:lpstr>
      <vt:lpstr>宋体</vt:lpstr>
      <vt:lpstr>Arial Unicode MS</vt:lpstr>
      <vt:lpstr>Noto Sans</vt:lpstr>
      <vt:lpstr>Noto Sans SC</vt:lpstr>
      <vt:lpstr>STZhongsong</vt:lpstr>
      <vt:lpstr>思源黑体 CN Bold</vt:lpstr>
      <vt:lpstr>宋体-简</vt:lpstr>
      <vt:lpstr>IQVIA_V2.0.0</vt:lpstr>
      <vt:lpstr>1_IQVIA_V2.0.0</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目录</vt:lpstr>
      <vt:lpstr>氟比洛芬钠滴眼液是我国首个“抑制术中缩瞳+术后抗炎”双适应症滴眼液</vt:lpstr>
      <vt:lpstr>PowerPoint 演示文稿</vt:lpstr>
      <vt:lpstr>PowerPoint 演示文稿</vt:lpstr>
      <vt:lpstr>氟比洛芬钠滴眼液作为全新NSAIDs眼科用药，其抗炎疗效于激素相当且无升高眼压风险，在临床实践中得到广泛认可</vt:lpstr>
      <vt:lpstr>氟比洛芬钠滴眼液作为全新NSAIDs眼科用药，多项临床证据均证明其可显著抑制内眼手术中的瞳孔缩小</vt:lpstr>
      <vt:lpstr>氟比洛芬钠的缩瞳抗炎双重临床用药场景已被多项国内外权威指南推荐</vt:lpstr>
      <vt:lpstr>氟比洛芬钠滴眼液是国内唯一获批围术期一站式稳瞳抗炎双适应症的非甾体滴眼液；单剂量包装实现短程精准用药；不含防腐剂减少眼表刺激</vt:lpstr>
      <vt:lpstr>氟比洛芬钠滴眼液填补围术期用药空白，一药兼顾术中稳瞳与术后抗炎，临床用药便捷，依从性更高</vt:lpstr>
      <vt:lpstr>目录</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n.liu@iqvia.com</dc:creator>
  <cp:lastModifiedBy>maintenant</cp:lastModifiedBy>
  <cp:revision>12</cp:revision>
  <cp:lastPrinted>2026-06-08T15:28:07Z</cp:lastPrinted>
  <dcterms:created xsi:type="dcterms:W3CDTF">2026-06-08T15:28:07Z</dcterms:created>
  <dcterms:modified xsi:type="dcterms:W3CDTF">2026-06-08T15:2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F2F3A0F661AE4BB990859873F8E9D0</vt:lpwstr>
  </property>
  <property fmtid="{D5CDD505-2E9C-101B-9397-08002B2CF9AE}" pid="3" name="KSOProductBuildVer">
    <vt:lpwstr>2052-12.1.25895.25895</vt:lpwstr>
  </property>
  <property fmtid="{D5CDD505-2E9C-101B-9397-08002B2CF9AE}" pid="4" name="ICV">
    <vt:lpwstr>9EC03E95CE11437CB095266A52D9E240_43</vt:lpwstr>
  </property>
</Properties>
</file>